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8"/>
  </p:notesMasterIdLst>
  <p:sldIdLst>
    <p:sldId id="256" r:id="rId2"/>
    <p:sldId id="291" r:id="rId3"/>
    <p:sldId id="290" r:id="rId4"/>
    <p:sldId id="288" r:id="rId5"/>
    <p:sldId id="292" r:id="rId6"/>
    <p:sldId id="293" r:id="rId7"/>
    <p:sldId id="294" r:id="rId8"/>
    <p:sldId id="299" r:id="rId9"/>
    <p:sldId id="295" r:id="rId10"/>
    <p:sldId id="300" r:id="rId11"/>
    <p:sldId id="301" r:id="rId12"/>
    <p:sldId id="297" r:id="rId13"/>
    <p:sldId id="302" r:id="rId14"/>
    <p:sldId id="298" r:id="rId15"/>
    <p:sldId id="280" r:id="rId16"/>
    <p:sldId id="285" r:id="rId17"/>
  </p:sldIdLst>
  <p:sldSz cx="12192000" cy="6858000"/>
  <p:notesSz cx="6858000" cy="9144000"/>
  <p:custDataLst>
    <p:tags r:id="rId19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2108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396F404-D0A8-4E05-A341-8D3AA088B137}" v="6" dt="2024-12-06T08:17:23.605"/>
    <p1510:client id="{991A3D54-A195-49DD-95E3-B8FCA2AA2B41}" v="69" dt="2024-12-06T06:55:25.26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761" autoAdjust="0"/>
    <p:restoredTop sz="94618" autoAdjust="0"/>
  </p:normalViewPr>
  <p:slideViewPr>
    <p:cSldViewPr snapToGrid="0">
      <p:cViewPr varScale="1">
        <p:scale>
          <a:sx n="81" d="100"/>
          <a:sy n="81" d="100"/>
        </p:scale>
        <p:origin x="102" y="87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microsoft.com/office/2015/10/relationships/revisionInfo" Target="revisionInfo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microsoft.com/office/2016/11/relationships/changesInfo" Target="changesInfos/changesInfo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thias Richerzhagen" userId="061c65f5-fcc4-473b-b050-8f78d278d79d" providerId="ADAL" clId="{991A3D54-A195-49DD-95E3-B8FCA2AA2B41}"/>
    <pc:docChg chg="undo custSel addSld delSld modSld">
      <pc:chgData name="Mathias Richerzhagen" userId="061c65f5-fcc4-473b-b050-8f78d278d79d" providerId="ADAL" clId="{991A3D54-A195-49DD-95E3-B8FCA2AA2B41}" dt="2024-12-06T06:55:31.421" v="1135" actId="1076"/>
      <pc:docMkLst>
        <pc:docMk/>
      </pc:docMkLst>
      <pc:sldChg chg="addSp delSp modSp mod">
        <pc:chgData name="Mathias Richerzhagen" userId="061c65f5-fcc4-473b-b050-8f78d278d79d" providerId="ADAL" clId="{991A3D54-A195-49DD-95E3-B8FCA2AA2B41}" dt="2024-12-06T06:18:25.070" v="7" actId="1076"/>
        <pc:sldMkLst>
          <pc:docMk/>
          <pc:sldMk cId="2955577737" sldId="295"/>
        </pc:sldMkLst>
        <pc:spChg chg="del">
          <ac:chgData name="Mathias Richerzhagen" userId="061c65f5-fcc4-473b-b050-8f78d278d79d" providerId="ADAL" clId="{991A3D54-A195-49DD-95E3-B8FCA2AA2B41}" dt="2024-12-06T06:18:12.869" v="0" actId="478"/>
          <ac:spMkLst>
            <pc:docMk/>
            <pc:sldMk cId="2955577737" sldId="295"/>
            <ac:spMk id="3" creationId="{7C83E420-0CB6-12C9-626D-667E87BD3AB4}"/>
          </ac:spMkLst>
        </pc:spChg>
        <pc:spChg chg="del">
          <ac:chgData name="Mathias Richerzhagen" userId="061c65f5-fcc4-473b-b050-8f78d278d79d" providerId="ADAL" clId="{991A3D54-A195-49DD-95E3-B8FCA2AA2B41}" dt="2024-12-06T06:18:13.827" v="1" actId="478"/>
          <ac:spMkLst>
            <pc:docMk/>
            <pc:sldMk cId="2955577737" sldId="295"/>
            <ac:spMk id="5" creationId="{034DB9CC-A76F-04D2-AF28-A1CCAF1A51C3}"/>
          </ac:spMkLst>
        </pc:spChg>
        <pc:spChg chg="add del mod">
          <ac:chgData name="Mathias Richerzhagen" userId="061c65f5-fcc4-473b-b050-8f78d278d79d" providerId="ADAL" clId="{991A3D54-A195-49DD-95E3-B8FCA2AA2B41}" dt="2024-12-06T06:18:14.413" v="2" actId="478"/>
          <ac:spMkLst>
            <pc:docMk/>
            <pc:sldMk cId="2955577737" sldId="295"/>
            <ac:spMk id="8" creationId="{7BD3F780-1C2A-C0EC-CD88-6A8646C911D4}"/>
          </ac:spMkLst>
        </pc:spChg>
        <pc:spChg chg="add del mod">
          <ac:chgData name="Mathias Richerzhagen" userId="061c65f5-fcc4-473b-b050-8f78d278d79d" providerId="ADAL" clId="{991A3D54-A195-49DD-95E3-B8FCA2AA2B41}" dt="2024-12-06T06:18:14.862" v="3" actId="478"/>
          <ac:spMkLst>
            <pc:docMk/>
            <pc:sldMk cId="2955577737" sldId="295"/>
            <ac:spMk id="10" creationId="{38B841AB-2B7C-AB78-EAA8-3AF8E10F86C5}"/>
          </ac:spMkLst>
        </pc:spChg>
        <pc:spChg chg="add mod">
          <ac:chgData name="Mathias Richerzhagen" userId="061c65f5-fcc4-473b-b050-8f78d278d79d" providerId="ADAL" clId="{991A3D54-A195-49DD-95E3-B8FCA2AA2B41}" dt="2024-12-06T06:18:25.070" v="7" actId="1076"/>
          <ac:spMkLst>
            <pc:docMk/>
            <pc:sldMk cId="2955577737" sldId="295"/>
            <ac:spMk id="12" creationId="{8E6A56DA-C102-0E78-EDA5-8F5CADE9C734}"/>
          </ac:spMkLst>
        </pc:spChg>
        <pc:picChg chg="add mod">
          <ac:chgData name="Mathias Richerzhagen" userId="061c65f5-fcc4-473b-b050-8f78d278d79d" providerId="ADAL" clId="{991A3D54-A195-49DD-95E3-B8FCA2AA2B41}" dt="2024-12-06T06:18:19.669" v="5" actId="1076"/>
          <ac:picMkLst>
            <pc:docMk/>
            <pc:sldMk cId="2955577737" sldId="295"/>
            <ac:picMk id="11" creationId="{92493190-52B4-846B-E1D0-F0286C904B1F}"/>
          </ac:picMkLst>
        </pc:picChg>
      </pc:sldChg>
      <pc:sldChg chg="addSp delSp modSp del mod">
        <pc:chgData name="Mathias Richerzhagen" userId="061c65f5-fcc4-473b-b050-8f78d278d79d" providerId="ADAL" clId="{991A3D54-A195-49DD-95E3-B8FCA2AA2B41}" dt="2024-12-06T06:25:21.264" v="75" actId="2696"/>
        <pc:sldMkLst>
          <pc:docMk/>
          <pc:sldMk cId="90207519" sldId="296"/>
        </pc:sldMkLst>
        <pc:spChg chg="del mod">
          <ac:chgData name="Mathias Richerzhagen" userId="061c65f5-fcc4-473b-b050-8f78d278d79d" providerId="ADAL" clId="{991A3D54-A195-49DD-95E3-B8FCA2AA2B41}" dt="2024-12-06T06:19:56.404" v="22" actId="478"/>
          <ac:spMkLst>
            <pc:docMk/>
            <pc:sldMk cId="90207519" sldId="296"/>
            <ac:spMk id="3" creationId="{7C83E420-0CB6-12C9-626D-667E87BD3AB4}"/>
          </ac:spMkLst>
        </pc:spChg>
        <pc:spChg chg="del">
          <ac:chgData name="Mathias Richerzhagen" userId="061c65f5-fcc4-473b-b050-8f78d278d79d" providerId="ADAL" clId="{991A3D54-A195-49DD-95E3-B8FCA2AA2B41}" dt="2024-12-06T06:19:58.227" v="23" actId="478"/>
          <ac:spMkLst>
            <pc:docMk/>
            <pc:sldMk cId="90207519" sldId="296"/>
            <ac:spMk id="5" creationId="{034DB9CC-A76F-04D2-AF28-A1CCAF1A51C3}"/>
          </ac:spMkLst>
        </pc:spChg>
        <pc:spChg chg="add del mod">
          <ac:chgData name="Mathias Richerzhagen" userId="061c65f5-fcc4-473b-b050-8f78d278d79d" providerId="ADAL" clId="{991A3D54-A195-49DD-95E3-B8FCA2AA2B41}" dt="2024-12-06T06:19:58.799" v="24" actId="478"/>
          <ac:spMkLst>
            <pc:docMk/>
            <pc:sldMk cId="90207519" sldId="296"/>
            <ac:spMk id="8" creationId="{97EBF566-8112-E049-1318-8D3B87F85363}"/>
          </ac:spMkLst>
        </pc:spChg>
        <pc:spChg chg="add del mod">
          <ac:chgData name="Mathias Richerzhagen" userId="061c65f5-fcc4-473b-b050-8f78d278d79d" providerId="ADAL" clId="{991A3D54-A195-49DD-95E3-B8FCA2AA2B41}" dt="2024-12-06T06:20:00.062" v="25" actId="478"/>
          <ac:spMkLst>
            <pc:docMk/>
            <pc:sldMk cId="90207519" sldId="296"/>
            <ac:spMk id="10" creationId="{EC94E33A-A422-00E7-E737-E6DA5881F1F3}"/>
          </ac:spMkLst>
        </pc:spChg>
        <pc:spChg chg="add mod">
          <ac:chgData name="Mathias Richerzhagen" userId="061c65f5-fcc4-473b-b050-8f78d278d79d" providerId="ADAL" clId="{991A3D54-A195-49DD-95E3-B8FCA2AA2B41}" dt="2024-12-06T06:20:01" v="26"/>
          <ac:spMkLst>
            <pc:docMk/>
            <pc:sldMk cId="90207519" sldId="296"/>
            <ac:spMk id="11" creationId="{EB44F5AB-C513-23FC-9C00-1CF7391ED2DA}"/>
          </ac:spMkLst>
        </pc:spChg>
        <pc:spChg chg="add mod">
          <ac:chgData name="Mathias Richerzhagen" userId="061c65f5-fcc4-473b-b050-8f78d278d79d" providerId="ADAL" clId="{991A3D54-A195-49DD-95E3-B8FCA2AA2B41}" dt="2024-12-06T06:20:01" v="26"/>
          <ac:spMkLst>
            <pc:docMk/>
            <pc:sldMk cId="90207519" sldId="296"/>
            <ac:spMk id="12" creationId="{5618D529-F6A7-DD97-068F-49C06DA010CF}"/>
          </ac:spMkLst>
        </pc:spChg>
        <pc:spChg chg="add mod">
          <ac:chgData name="Mathias Richerzhagen" userId="061c65f5-fcc4-473b-b050-8f78d278d79d" providerId="ADAL" clId="{991A3D54-A195-49DD-95E3-B8FCA2AA2B41}" dt="2024-12-06T06:20:01" v="26"/>
          <ac:spMkLst>
            <pc:docMk/>
            <pc:sldMk cId="90207519" sldId="296"/>
            <ac:spMk id="13" creationId="{B5F8591B-42B0-79D0-6765-3DC310AF23D2}"/>
          </ac:spMkLst>
        </pc:spChg>
        <pc:spChg chg="add mod">
          <ac:chgData name="Mathias Richerzhagen" userId="061c65f5-fcc4-473b-b050-8f78d278d79d" providerId="ADAL" clId="{991A3D54-A195-49DD-95E3-B8FCA2AA2B41}" dt="2024-12-06T06:20:01" v="26"/>
          <ac:spMkLst>
            <pc:docMk/>
            <pc:sldMk cId="90207519" sldId="296"/>
            <ac:spMk id="14" creationId="{00A37300-E0CA-563F-8DD7-583AFC7CE358}"/>
          </ac:spMkLst>
        </pc:spChg>
        <pc:spChg chg="add mod">
          <ac:chgData name="Mathias Richerzhagen" userId="061c65f5-fcc4-473b-b050-8f78d278d79d" providerId="ADAL" clId="{991A3D54-A195-49DD-95E3-B8FCA2AA2B41}" dt="2024-12-06T06:20:01" v="26"/>
          <ac:spMkLst>
            <pc:docMk/>
            <pc:sldMk cId="90207519" sldId="296"/>
            <ac:spMk id="15" creationId="{FF038C12-1EAA-69F8-D662-A9E66DDDA899}"/>
          </ac:spMkLst>
        </pc:spChg>
        <pc:spChg chg="add mod">
          <ac:chgData name="Mathias Richerzhagen" userId="061c65f5-fcc4-473b-b050-8f78d278d79d" providerId="ADAL" clId="{991A3D54-A195-49DD-95E3-B8FCA2AA2B41}" dt="2024-12-06T06:20:01" v="26"/>
          <ac:spMkLst>
            <pc:docMk/>
            <pc:sldMk cId="90207519" sldId="296"/>
            <ac:spMk id="16" creationId="{E2D42FE2-EE9A-8518-A060-4CF3F36583CA}"/>
          </ac:spMkLst>
        </pc:spChg>
      </pc:sldChg>
      <pc:sldChg chg="addSp delSp modSp mod">
        <pc:chgData name="Mathias Richerzhagen" userId="061c65f5-fcc4-473b-b050-8f78d278d79d" providerId="ADAL" clId="{991A3D54-A195-49DD-95E3-B8FCA2AA2B41}" dt="2024-12-06T06:55:31.421" v="1135" actId="1076"/>
        <pc:sldMkLst>
          <pc:docMk/>
          <pc:sldMk cId="199995880" sldId="297"/>
        </pc:sldMkLst>
        <pc:spChg chg="mod">
          <ac:chgData name="Mathias Richerzhagen" userId="061c65f5-fcc4-473b-b050-8f78d278d79d" providerId="ADAL" clId="{991A3D54-A195-49DD-95E3-B8FCA2AA2B41}" dt="2024-12-06T06:20:40.208" v="41" actId="20577"/>
          <ac:spMkLst>
            <pc:docMk/>
            <pc:sldMk cId="199995880" sldId="297"/>
            <ac:spMk id="2" creationId="{94159FCD-162A-14F4-2206-6FA37010D013}"/>
          </ac:spMkLst>
        </pc:spChg>
        <pc:spChg chg="del">
          <ac:chgData name="Mathias Richerzhagen" userId="061c65f5-fcc4-473b-b050-8f78d278d79d" providerId="ADAL" clId="{991A3D54-A195-49DD-95E3-B8FCA2AA2B41}" dt="2024-12-06T06:20:43.743" v="42" actId="478"/>
          <ac:spMkLst>
            <pc:docMk/>
            <pc:sldMk cId="199995880" sldId="297"/>
            <ac:spMk id="3" creationId="{7C83E420-0CB6-12C9-626D-667E87BD3AB4}"/>
          </ac:spMkLst>
        </pc:spChg>
        <pc:spChg chg="del">
          <ac:chgData name="Mathias Richerzhagen" userId="061c65f5-fcc4-473b-b050-8f78d278d79d" providerId="ADAL" clId="{991A3D54-A195-49DD-95E3-B8FCA2AA2B41}" dt="2024-12-06T06:27:25.283" v="205" actId="478"/>
          <ac:spMkLst>
            <pc:docMk/>
            <pc:sldMk cId="199995880" sldId="297"/>
            <ac:spMk id="5" creationId="{034DB9CC-A76F-04D2-AF28-A1CCAF1A51C3}"/>
          </ac:spMkLst>
        </pc:spChg>
        <pc:spChg chg="add mod">
          <ac:chgData name="Mathias Richerzhagen" userId="061c65f5-fcc4-473b-b050-8f78d278d79d" providerId="ADAL" clId="{991A3D54-A195-49DD-95E3-B8FCA2AA2B41}" dt="2024-12-06T06:55:10.687" v="1129" actId="20577"/>
          <ac:spMkLst>
            <pc:docMk/>
            <pc:sldMk cId="199995880" sldId="297"/>
            <ac:spMk id="8" creationId="{9EF61784-B20E-32A4-FDD5-B6EF1605552B}"/>
          </ac:spMkLst>
        </pc:spChg>
        <pc:spChg chg="add del mod">
          <ac:chgData name="Mathias Richerzhagen" userId="061c65f5-fcc4-473b-b050-8f78d278d79d" providerId="ADAL" clId="{991A3D54-A195-49DD-95E3-B8FCA2AA2B41}" dt="2024-12-06T06:27:26.846" v="206" actId="478"/>
          <ac:spMkLst>
            <pc:docMk/>
            <pc:sldMk cId="199995880" sldId="297"/>
            <ac:spMk id="10" creationId="{0B3942CF-0B1C-70D4-3871-93569DE47990}"/>
          </ac:spMkLst>
        </pc:spChg>
        <pc:spChg chg="mod">
          <ac:chgData name="Mathias Richerzhagen" userId="061c65f5-fcc4-473b-b050-8f78d278d79d" providerId="ADAL" clId="{991A3D54-A195-49DD-95E3-B8FCA2AA2B41}" dt="2024-12-06T06:55:19.114" v="1130"/>
          <ac:spMkLst>
            <pc:docMk/>
            <pc:sldMk cId="199995880" sldId="297"/>
            <ac:spMk id="13" creationId="{F1591E1C-54A6-AFF4-2582-60546C451596}"/>
          </ac:spMkLst>
        </pc:spChg>
        <pc:spChg chg="mod">
          <ac:chgData name="Mathias Richerzhagen" userId="061c65f5-fcc4-473b-b050-8f78d278d79d" providerId="ADAL" clId="{991A3D54-A195-49DD-95E3-B8FCA2AA2B41}" dt="2024-12-06T06:55:25.264" v="1132"/>
          <ac:spMkLst>
            <pc:docMk/>
            <pc:sldMk cId="199995880" sldId="297"/>
            <ac:spMk id="15" creationId="{C5860849-2C80-C6B2-64D5-0EFC87110673}"/>
          </ac:spMkLst>
        </pc:spChg>
        <pc:spChg chg="mod">
          <ac:chgData name="Mathias Richerzhagen" userId="061c65f5-fcc4-473b-b050-8f78d278d79d" providerId="ADAL" clId="{991A3D54-A195-49DD-95E3-B8FCA2AA2B41}" dt="2024-12-06T06:55:25.264" v="1132"/>
          <ac:spMkLst>
            <pc:docMk/>
            <pc:sldMk cId="199995880" sldId="297"/>
            <ac:spMk id="17" creationId="{C55D47A8-97EC-69AB-5983-3D3DFB1D85CC}"/>
          </ac:spMkLst>
        </pc:spChg>
        <pc:grpChg chg="add mod">
          <ac:chgData name="Mathias Richerzhagen" userId="061c65f5-fcc4-473b-b050-8f78d278d79d" providerId="ADAL" clId="{991A3D54-A195-49DD-95E3-B8FCA2AA2B41}" dt="2024-12-06T06:55:29.909" v="1134" actId="1076"/>
          <ac:grpSpMkLst>
            <pc:docMk/>
            <pc:sldMk cId="199995880" sldId="297"/>
            <ac:grpSpMk id="11" creationId="{97B6C9BD-17A6-90C3-0BFF-9392AE5415DD}"/>
          </ac:grpSpMkLst>
        </pc:grpChg>
        <pc:grpChg chg="add mod">
          <ac:chgData name="Mathias Richerzhagen" userId="061c65f5-fcc4-473b-b050-8f78d278d79d" providerId="ADAL" clId="{991A3D54-A195-49DD-95E3-B8FCA2AA2B41}" dt="2024-12-06T06:55:31.421" v="1135" actId="1076"/>
          <ac:grpSpMkLst>
            <pc:docMk/>
            <pc:sldMk cId="199995880" sldId="297"/>
            <ac:grpSpMk id="14" creationId="{53E60225-E1C0-6F69-5E8A-CF02798A100D}"/>
          </ac:grpSpMkLst>
        </pc:grpChg>
        <pc:picChg chg="mod">
          <ac:chgData name="Mathias Richerzhagen" userId="061c65f5-fcc4-473b-b050-8f78d278d79d" providerId="ADAL" clId="{991A3D54-A195-49DD-95E3-B8FCA2AA2B41}" dt="2024-12-06T06:55:19.114" v="1130"/>
          <ac:picMkLst>
            <pc:docMk/>
            <pc:sldMk cId="199995880" sldId="297"/>
            <ac:picMk id="12" creationId="{A717B685-8AE0-E461-3FF2-15697E3857F1}"/>
          </ac:picMkLst>
        </pc:picChg>
        <pc:picChg chg="mod">
          <ac:chgData name="Mathias Richerzhagen" userId="061c65f5-fcc4-473b-b050-8f78d278d79d" providerId="ADAL" clId="{991A3D54-A195-49DD-95E3-B8FCA2AA2B41}" dt="2024-12-06T06:55:25.264" v="1132"/>
          <ac:picMkLst>
            <pc:docMk/>
            <pc:sldMk cId="199995880" sldId="297"/>
            <ac:picMk id="16" creationId="{9D09E295-EE60-BC12-8F40-EF89CA74951B}"/>
          </ac:picMkLst>
        </pc:picChg>
      </pc:sldChg>
      <pc:sldChg chg="addSp delSp modSp add mod">
        <pc:chgData name="Mathias Richerzhagen" userId="061c65f5-fcc4-473b-b050-8f78d278d79d" providerId="ADAL" clId="{991A3D54-A195-49DD-95E3-B8FCA2AA2B41}" dt="2024-12-06T06:18:41.350" v="12" actId="1076"/>
        <pc:sldMkLst>
          <pc:docMk/>
          <pc:sldMk cId="413131775" sldId="300"/>
        </pc:sldMkLst>
        <pc:spChg chg="add mod">
          <ac:chgData name="Mathias Richerzhagen" userId="061c65f5-fcc4-473b-b050-8f78d278d79d" providerId="ADAL" clId="{991A3D54-A195-49DD-95E3-B8FCA2AA2B41}" dt="2024-12-06T06:18:41.350" v="12" actId="1076"/>
          <ac:spMkLst>
            <pc:docMk/>
            <pc:sldMk cId="413131775" sldId="300"/>
            <ac:spMk id="7" creationId="{617C96DA-DDC6-CA41-DFB9-34ECCCDB886C}"/>
          </ac:spMkLst>
        </pc:spChg>
        <pc:spChg chg="add mod">
          <ac:chgData name="Mathias Richerzhagen" userId="061c65f5-fcc4-473b-b050-8f78d278d79d" providerId="ADAL" clId="{991A3D54-A195-49DD-95E3-B8FCA2AA2B41}" dt="2024-12-06T06:18:41.350" v="12" actId="1076"/>
          <ac:spMkLst>
            <pc:docMk/>
            <pc:sldMk cId="413131775" sldId="300"/>
            <ac:spMk id="8" creationId="{283F07B5-E298-C30D-BB10-EBE5FD1C110E}"/>
          </ac:spMkLst>
        </pc:spChg>
        <pc:spChg chg="del">
          <ac:chgData name="Mathias Richerzhagen" userId="061c65f5-fcc4-473b-b050-8f78d278d79d" providerId="ADAL" clId="{991A3D54-A195-49DD-95E3-B8FCA2AA2B41}" dt="2024-12-06T06:18:36.620" v="10" actId="478"/>
          <ac:spMkLst>
            <pc:docMk/>
            <pc:sldMk cId="413131775" sldId="300"/>
            <ac:spMk id="12" creationId="{8E6A56DA-C102-0E78-EDA5-8F5CADE9C734}"/>
          </ac:spMkLst>
        </pc:spChg>
        <pc:picChg chg="add mod">
          <ac:chgData name="Mathias Richerzhagen" userId="061c65f5-fcc4-473b-b050-8f78d278d79d" providerId="ADAL" clId="{991A3D54-A195-49DD-95E3-B8FCA2AA2B41}" dt="2024-12-06T06:18:41.350" v="12" actId="1076"/>
          <ac:picMkLst>
            <pc:docMk/>
            <pc:sldMk cId="413131775" sldId="300"/>
            <ac:picMk id="3" creationId="{E156D106-3361-0F29-717F-EAEBFAB6E100}"/>
          </ac:picMkLst>
        </pc:picChg>
        <pc:picChg chg="add mod">
          <ac:chgData name="Mathias Richerzhagen" userId="061c65f5-fcc4-473b-b050-8f78d278d79d" providerId="ADAL" clId="{991A3D54-A195-49DD-95E3-B8FCA2AA2B41}" dt="2024-12-06T06:18:41.350" v="12" actId="1076"/>
          <ac:picMkLst>
            <pc:docMk/>
            <pc:sldMk cId="413131775" sldId="300"/>
            <ac:picMk id="5" creationId="{99A9BC0F-D342-F8C5-D125-9ADB800728BF}"/>
          </ac:picMkLst>
        </pc:picChg>
        <pc:picChg chg="del">
          <ac:chgData name="Mathias Richerzhagen" userId="061c65f5-fcc4-473b-b050-8f78d278d79d" providerId="ADAL" clId="{991A3D54-A195-49DD-95E3-B8FCA2AA2B41}" dt="2024-12-06T06:18:35.439" v="9" actId="478"/>
          <ac:picMkLst>
            <pc:docMk/>
            <pc:sldMk cId="413131775" sldId="300"/>
            <ac:picMk id="11" creationId="{92493190-52B4-846B-E1D0-F0286C904B1F}"/>
          </ac:picMkLst>
        </pc:picChg>
      </pc:sldChg>
      <pc:sldChg chg="addSp delSp modSp add mod">
        <pc:chgData name="Mathias Richerzhagen" userId="061c65f5-fcc4-473b-b050-8f78d278d79d" providerId="ADAL" clId="{991A3D54-A195-49DD-95E3-B8FCA2AA2B41}" dt="2024-12-06T06:19:26.096" v="20"/>
        <pc:sldMkLst>
          <pc:docMk/>
          <pc:sldMk cId="2223518244" sldId="301"/>
        </pc:sldMkLst>
        <pc:spChg chg="del mod">
          <ac:chgData name="Mathias Richerzhagen" userId="061c65f5-fcc4-473b-b050-8f78d278d79d" providerId="ADAL" clId="{991A3D54-A195-49DD-95E3-B8FCA2AA2B41}" dt="2024-12-06T06:19:22.752" v="18" actId="478"/>
          <ac:spMkLst>
            <pc:docMk/>
            <pc:sldMk cId="2223518244" sldId="301"/>
            <ac:spMk id="7" creationId="{617C96DA-DDC6-CA41-DFB9-34ECCCDB886C}"/>
          </ac:spMkLst>
        </pc:spChg>
        <pc:spChg chg="del mod">
          <ac:chgData name="Mathias Richerzhagen" userId="061c65f5-fcc4-473b-b050-8f78d278d79d" providerId="ADAL" clId="{991A3D54-A195-49DD-95E3-B8FCA2AA2B41}" dt="2024-12-06T06:19:21.117" v="17" actId="478"/>
          <ac:spMkLst>
            <pc:docMk/>
            <pc:sldMk cId="2223518244" sldId="301"/>
            <ac:spMk id="8" creationId="{283F07B5-E298-C30D-BB10-EBE5FD1C110E}"/>
          </ac:spMkLst>
        </pc:spChg>
        <pc:spChg chg="add mod">
          <ac:chgData name="Mathias Richerzhagen" userId="061c65f5-fcc4-473b-b050-8f78d278d79d" providerId="ADAL" clId="{991A3D54-A195-49DD-95E3-B8FCA2AA2B41}" dt="2024-12-06T06:19:26.096" v="20"/>
          <ac:spMkLst>
            <pc:docMk/>
            <pc:sldMk cId="2223518244" sldId="301"/>
            <ac:spMk id="10" creationId="{F64DA846-92C4-E87F-44BE-EC4BB83B4D90}"/>
          </ac:spMkLst>
        </pc:spChg>
        <pc:picChg chg="del">
          <ac:chgData name="Mathias Richerzhagen" userId="061c65f5-fcc4-473b-b050-8f78d278d79d" providerId="ADAL" clId="{991A3D54-A195-49DD-95E3-B8FCA2AA2B41}" dt="2024-12-06T06:19:18.911" v="14" actId="478"/>
          <ac:picMkLst>
            <pc:docMk/>
            <pc:sldMk cId="2223518244" sldId="301"/>
            <ac:picMk id="3" creationId="{E156D106-3361-0F29-717F-EAEBFAB6E100}"/>
          </ac:picMkLst>
        </pc:picChg>
        <pc:picChg chg="del">
          <ac:chgData name="Mathias Richerzhagen" userId="061c65f5-fcc4-473b-b050-8f78d278d79d" providerId="ADAL" clId="{991A3D54-A195-49DD-95E3-B8FCA2AA2B41}" dt="2024-12-06T06:19:23.225" v="19" actId="478"/>
          <ac:picMkLst>
            <pc:docMk/>
            <pc:sldMk cId="2223518244" sldId="301"/>
            <ac:picMk id="5" creationId="{99A9BC0F-D342-F8C5-D125-9ADB800728BF}"/>
          </ac:picMkLst>
        </pc:picChg>
        <pc:picChg chg="add mod">
          <ac:chgData name="Mathias Richerzhagen" userId="061c65f5-fcc4-473b-b050-8f78d278d79d" providerId="ADAL" clId="{991A3D54-A195-49DD-95E3-B8FCA2AA2B41}" dt="2024-12-06T06:19:26.096" v="20"/>
          <ac:picMkLst>
            <pc:docMk/>
            <pc:sldMk cId="2223518244" sldId="301"/>
            <ac:picMk id="9" creationId="{00A9BA78-3E9A-2BA1-F7E1-4A379778F892}"/>
          </ac:picMkLst>
        </pc:picChg>
      </pc:sldChg>
      <pc:sldChg chg="add del">
        <pc:chgData name="Mathias Richerzhagen" userId="061c65f5-fcc4-473b-b050-8f78d278d79d" providerId="ADAL" clId="{991A3D54-A195-49DD-95E3-B8FCA2AA2B41}" dt="2024-12-06T06:20:31.773" v="30" actId="2696"/>
        <pc:sldMkLst>
          <pc:docMk/>
          <pc:sldMk cId="168840892" sldId="302"/>
        </pc:sldMkLst>
      </pc:sldChg>
      <pc:sldChg chg="addSp delSp modSp add mod">
        <pc:chgData name="Mathias Richerzhagen" userId="061c65f5-fcc4-473b-b050-8f78d278d79d" providerId="ADAL" clId="{991A3D54-A195-49DD-95E3-B8FCA2AA2B41}" dt="2024-12-06T06:54:36.177" v="1085" actId="5793"/>
        <pc:sldMkLst>
          <pc:docMk/>
          <pc:sldMk cId="3048274825" sldId="302"/>
        </pc:sldMkLst>
        <pc:spChg chg="mod">
          <ac:chgData name="Mathias Richerzhagen" userId="061c65f5-fcc4-473b-b050-8f78d278d79d" providerId="ADAL" clId="{991A3D54-A195-49DD-95E3-B8FCA2AA2B41}" dt="2024-12-06T06:54:36.177" v="1085" actId="5793"/>
          <ac:spMkLst>
            <pc:docMk/>
            <pc:sldMk cId="3048274825" sldId="302"/>
            <ac:spMk id="2" creationId="{94159FCD-162A-14F4-2206-6FA37010D013}"/>
          </ac:spMkLst>
        </pc:spChg>
        <pc:spChg chg="del">
          <ac:chgData name="Mathias Richerzhagen" userId="061c65f5-fcc4-473b-b050-8f78d278d79d" providerId="ADAL" clId="{991A3D54-A195-49DD-95E3-B8FCA2AA2B41}" dt="2024-12-06T06:36:26.035" v="433" actId="478"/>
          <ac:spMkLst>
            <pc:docMk/>
            <pc:sldMk cId="3048274825" sldId="302"/>
            <ac:spMk id="3" creationId="{7C83E420-0CB6-12C9-626D-667E87BD3AB4}"/>
          </ac:spMkLst>
        </pc:spChg>
        <pc:spChg chg="mod">
          <ac:chgData name="Mathias Richerzhagen" userId="061c65f5-fcc4-473b-b050-8f78d278d79d" providerId="ADAL" clId="{991A3D54-A195-49DD-95E3-B8FCA2AA2B41}" dt="2024-12-06T06:45:25.982" v="568" actId="1076"/>
          <ac:spMkLst>
            <pc:docMk/>
            <pc:sldMk cId="3048274825" sldId="302"/>
            <ac:spMk id="4" creationId="{B2192BD0-5241-2075-560C-695034247A53}"/>
          </ac:spMkLst>
        </pc:spChg>
        <pc:spChg chg="del">
          <ac:chgData name="Mathias Richerzhagen" userId="061c65f5-fcc4-473b-b050-8f78d278d79d" providerId="ADAL" clId="{991A3D54-A195-49DD-95E3-B8FCA2AA2B41}" dt="2024-12-06T06:36:26.847" v="434" actId="478"/>
          <ac:spMkLst>
            <pc:docMk/>
            <pc:sldMk cId="3048274825" sldId="302"/>
            <ac:spMk id="5" creationId="{034DB9CC-A76F-04D2-AF28-A1CCAF1A51C3}"/>
          </ac:spMkLst>
        </pc:spChg>
        <pc:spChg chg="add del mod">
          <ac:chgData name="Mathias Richerzhagen" userId="061c65f5-fcc4-473b-b050-8f78d278d79d" providerId="ADAL" clId="{991A3D54-A195-49DD-95E3-B8FCA2AA2B41}" dt="2024-12-06T06:38:26.031" v="455" actId="478"/>
          <ac:spMkLst>
            <pc:docMk/>
            <pc:sldMk cId="3048274825" sldId="302"/>
            <ac:spMk id="12" creationId="{EF7B6A37-1CC6-2E5F-0073-70E14A9EA633}"/>
          </ac:spMkLst>
        </pc:spChg>
        <pc:spChg chg="add del mod">
          <ac:chgData name="Mathias Richerzhagen" userId="061c65f5-fcc4-473b-b050-8f78d278d79d" providerId="ADAL" clId="{991A3D54-A195-49DD-95E3-B8FCA2AA2B41}" dt="2024-12-06T06:37:33.134" v="443" actId="478"/>
          <ac:spMkLst>
            <pc:docMk/>
            <pc:sldMk cId="3048274825" sldId="302"/>
            <ac:spMk id="14" creationId="{32FE8114-872C-AFCE-FFD5-3465F03A4D82}"/>
          </ac:spMkLst>
        </pc:spChg>
        <pc:spChg chg="add del mod">
          <ac:chgData name="Mathias Richerzhagen" userId="061c65f5-fcc4-473b-b050-8f78d278d79d" providerId="ADAL" clId="{991A3D54-A195-49DD-95E3-B8FCA2AA2B41}" dt="2024-12-06T06:36:28.076" v="435" actId="478"/>
          <ac:spMkLst>
            <pc:docMk/>
            <pc:sldMk cId="3048274825" sldId="302"/>
            <ac:spMk id="20" creationId="{07F125E2-056E-DBF9-AA31-E5522678E3EB}"/>
          </ac:spMkLst>
        </pc:spChg>
        <pc:spChg chg="add del mod">
          <ac:chgData name="Mathias Richerzhagen" userId="061c65f5-fcc4-473b-b050-8f78d278d79d" providerId="ADAL" clId="{991A3D54-A195-49DD-95E3-B8FCA2AA2B41}" dt="2024-12-06T06:36:29.358" v="436" actId="478"/>
          <ac:spMkLst>
            <pc:docMk/>
            <pc:sldMk cId="3048274825" sldId="302"/>
            <ac:spMk id="22" creationId="{7B333C7D-5FEC-38AB-2EB8-0C81AD82D092}"/>
          </ac:spMkLst>
        </pc:spChg>
        <pc:spChg chg="add mod">
          <ac:chgData name="Mathias Richerzhagen" userId="061c65f5-fcc4-473b-b050-8f78d278d79d" providerId="ADAL" clId="{991A3D54-A195-49DD-95E3-B8FCA2AA2B41}" dt="2024-12-06T06:47:07.981" v="684" actId="1076"/>
          <ac:spMkLst>
            <pc:docMk/>
            <pc:sldMk cId="3048274825" sldId="302"/>
            <ac:spMk id="23" creationId="{2F7069BD-CF1F-0469-CFEE-8762A709D05F}"/>
          </ac:spMkLst>
        </pc:spChg>
        <pc:spChg chg="add mod">
          <ac:chgData name="Mathias Richerzhagen" userId="061c65f5-fcc4-473b-b050-8f78d278d79d" providerId="ADAL" clId="{991A3D54-A195-49DD-95E3-B8FCA2AA2B41}" dt="2024-12-06T06:47:10.293" v="685" actId="1076"/>
          <ac:spMkLst>
            <pc:docMk/>
            <pc:sldMk cId="3048274825" sldId="302"/>
            <ac:spMk id="24" creationId="{6A653D37-CA19-581F-B101-D31BA08CB0B3}"/>
          </ac:spMkLst>
        </pc:spChg>
        <pc:spChg chg="mod">
          <ac:chgData name="Mathias Richerzhagen" userId="061c65f5-fcc4-473b-b050-8f78d278d79d" providerId="ADAL" clId="{991A3D54-A195-49DD-95E3-B8FCA2AA2B41}" dt="2024-12-06T06:47:13.637" v="686" actId="1076"/>
          <ac:spMkLst>
            <pc:docMk/>
            <pc:sldMk cId="3048274825" sldId="302"/>
            <ac:spMk id="29" creationId="{7E4D2220-3805-385C-E42F-21CD97EE4F6F}"/>
          </ac:spMkLst>
        </pc:spChg>
        <pc:spChg chg="add del mod">
          <ac:chgData name="Mathias Richerzhagen" userId="061c65f5-fcc4-473b-b050-8f78d278d79d" providerId="ADAL" clId="{991A3D54-A195-49DD-95E3-B8FCA2AA2B41}" dt="2024-12-06T06:40:20.841" v="501"/>
          <ac:spMkLst>
            <pc:docMk/>
            <pc:sldMk cId="3048274825" sldId="302"/>
            <ac:spMk id="30" creationId="{46CA76A4-D919-C97A-A944-4278679EFB64}"/>
          </ac:spMkLst>
        </pc:spChg>
        <pc:spChg chg="add mod">
          <ac:chgData name="Mathias Richerzhagen" userId="061c65f5-fcc4-473b-b050-8f78d278d79d" providerId="ADAL" clId="{991A3D54-A195-49DD-95E3-B8FCA2AA2B41}" dt="2024-12-06T06:45:30.175" v="569" actId="1076"/>
          <ac:spMkLst>
            <pc:docMk/>
            <pc:sldMk cId="3048274825" sldId="302"/>
            <ac:spMk id="33" creationId="{402C325C-E8AA-CA01-5C0B-A72F12E07B21}"/>
          </ac:spMkLst>
        </pc:spChg>
        <pc:spChg chg="add del mod">
          <ac:chgData name="Mathias Richerzhagen" userId="061c65f5-fcc4-473b-b050-8f78d278d79d" providerId="ADAL" clId="{991A3D54-A195-49DD-95E3-B8FCA2AA2B41}" dt="2024-12-06T06:42:09.199" v="528" actId="478"/>
          <ac:spMkLst>
            <pc:docMk/>
            <pc:sldMk cId="3048274825" sldId="302"/>
            <ac:spMk id="35" creationId="{C582E5EC-1D44-7086-A0C1-30D016C8B37C}"/>
          </ac:spMkLst>
        </pc:spChg>
        <pc:spChg chg="add mod">
          <ac:chgData name="Mathias Richerzhagen" userId="061c65f5-fcc4-473b-b050-8f78d278d79d" providerId="ADAL" clId="{991A3D54-A195-49DD-95E3-B8FCA2AA2B41}" dt="2024-12-06T06:54:23.523" v="1071" actId="782"/>
          <ac:spMkLst>
            <pc:docMk/>
            <pc:sldMk cId="3048274825" sldId="302"/>
            <ac:spMk id="37" creationId="{5926E1C4-803F-9D98-6738-1ED01FBE64D1}"/>
          </ac:spMkLst>
        </pc:spChg>
        <pc:spChg chg="add mod">
          <ac:chgData name="Mathias Richerzhagen" userId="061c65f5-fcc4-473b-b050-8f78d278d79d" providerId="ADAL" clId="{991A3D54-A195-49DD-95E3-B8FCA2AA2B41}" dt="2024-12-06T06:54:08.303" v="1067" actId="782"/>
          <ac:spMkLst>
            <pc:docMk/>
            <pc:sldMk cId="3048274825" sldId="302"/>
            <ac:spMk id="38" creationId="{CADC94E5-D127-B4EC-390C-1C855E529588}"/>
          </ac:spMkLst>
        </pc:spChg>
        <pc:spChg chg="add del mod">
          <ac:chgData name="Mathias Richerzhagen" userId="061c65f5-fcc4-473b-b050-8f78d278d79d" providerId="ADAL" clId="{991A3D54-A195-49DD-95E3-B8FCA2AA2B41}" dt="2024-12-06T06:48:57.455" v="704" actId="478"/>
          <ac:spMkLst>
            <pc:docMk/>
            <pc:sldMk cId="3048274825" sldId="302"/>
            <ac:spMk id="39" creationId="{CBD1FA69-840C-04B8-FF63-F4A5D63341E0}"/>
          </ac:spMkLst>
        </pc:spChg>
        <pc:spChg chg="add del mod">
          <ac:chgData name="Mathias Richerzhagen" userId="061c65f5-fcc4-473b-b050-8f78d278d79d" providerId="ADAL" clId="{991A3D54-A195-49DD-95E3-B8FCA2AA2B41}" dt="2024-12-06T06:48:57.933" v="705" actId="478"/>
          <ac:spMkLst>
            <pc:docMk/>
            <pc:sldMk cId="3048274825" sldId="302"/>
            <ac:spMk id="40" creationId="{09BD9430-D2BA-77CF-D382-D17F8921B40E}"/>
          </ac:spMkLst>
        </pc:spChg>
        <pc:spChg chg="add mod">
          <ac:chgData name="Mathias Richerzhagen" userId="061c65f5-fcc4-473b-b050-8f78d278d79d" providerId="ADAL" clId="{991A3D54-A195-49DD-95E3-B8FCA2AA2B41}" dt="2024-12-06T06:45:54.494" v="609" actId="1076"/>
          <ac:spMkLst>
            <pc:docMk/>
            <pc:sldMk cId="3048274825" sldId="302"/>
            <ac:spMk id="43" creationId="{80C6A6FD-9B6F-D163-8C49-4E319E55701F}"/>
          </ac:spMkLst>
        </pc:spChg>
        <pc:spChg chg="add mod">
          <ac:chgData name="Mathias Richerzhagen" userId="061c65f5-fcc4-473b-b050-8f78d278d79d" providerId="ADAL" clId="{991A3D54-A195-49DD-95E3-B8FCA2AA2B41}" dt="2024-12-06T06:46:05.974" v="628" actId="1076"/>
          <ac:spMkLst>
            <pc:docMk/>
            <pc:sldMk cId="3048274825" sldId="302"/>
            <ac:spMk id="44" creationId="{72B59789-6BD5-98C9-D5B1-F8A9F2C171D5}"/>
          </ac:spMkLst>
        </pc:spChg>
        <pc:spChg chg="add mod">
          <ac:chgData name="Mathias Richerzhagen" userId="061c65f5-fcc4-473b-b050-8f78d278d79d" providerId="ADAL" clId="{991A3D54-A195-49DD-95E3-B8FCA2AA2B41}" dt="2024-12-06T06:46:21.181" v="653" actId="1076"/>
          <ac:spMkLst>
            <pc:docMk/>
            <pc:sldMk cId="3048274825" sldId="302"/>
            <ac:spMk id="45" creationId="{0813A918-35DD-8277-01D3-EFDD9BF0658A}"/>
          </ac:spMkLst>
        </pc:spChg>
        <pc:spChg chg="add mod">
          <ac:chgData name="Mathias Richerzhagen" userId="061c65f5-fcc4-473b-b050-8f78d278d79d" providerId="ADAL" clId="{991A3D54-A195-49DD-95E3-B8FCA2AA2B41}" dt="2024-12-06T06:46:35.181" v="678" actId="1076"/>
          <ac:spMkLst>
            <pc:docMk/>
            <pc:sldMk cId="3048274825" sldId="302"/>
            <ac:spMk id="46" creationId="{4BE7ECCE-FB0C-11F8-DF5A-67D5BBF3781E}"/>
          </ac:spMkLst>
        </pc:spChg>
        <pc:spChg chg="add del mod">
          <ac:chgData name="Mathias Richerzhagen" userId="061c65f5-fcc4-473b-b050-8f78d278d79d" providerId="ADAL" clId="{991A3D54-A195-49DD-95E3-B8FCA2AA2B41}" dt="2024-12-06T06:48:40.703" v="701" actId="478"/>
          <ac:spMkLst>
            <pc:docMk/>
            <pc:sldMk cId="3048274825" sldId="302"/>
            <ac:spMk id="47" creationId="{B052D46C-63C0-ACA1-D930-40B3CA75311A}"/>
          </ac:spMkLst>
        </pc:spChg>
        <pc:spChg chg="add mod">
          <ac:chgData name="Mathias Richerzhagen" userId="061c65f5-fcc4-473b-b050-8f78d278d79d" providerId="ADAL" clId="{991A3D54-A195-49DD-95E3-B8FCA2AA2B41}" dt="2024-12-06T06:49:48.276" v="779" actId="1076"/>
          <ac:spMkLst>
            <pc:docMk/>
            <pc:sldMk cId="3048274825" sldId="302"/>
            <ac:spMk id="50" creationId="{2697F575-EBE7-5C77-6755-3A9A7B084039}"/>
          </ac:spMkLst>
        </pc:spChg>
        <pc:spChg chg="add mod">
          <ac:chgData name="Mathias Richerzhagen" userId="061c65f5-fcc4-473b-b050-8f78d278d79d" providerId="ADAL" clId="{991A3D54-A195-49DD-95E3-B8FCA2AA2B41}" dt="2024-12-06T06:54:10.078" v="1068" actId="20577"/>
          <ac:spMkLst>
            <pc:docMk/>
            <pc:sldMk cId="3048274825" sldId="302"/>
            <ac:spMk id="51" creationId="{282AAC3A-48DA-8D87-36CA-C1253D687759}"/>
          </ac:spMkLst>
        </pc:spChg>
        <pc:spChg chg="add mod">
          <ac:chgData name="Mathias Richerzhagen" userId="061c65f5-fcc4-473b-b050-8f78d278d79d" providerId="ADAL" clId="{991A3D54-A195-49DD-95E3-B8FCA2AA2B41}" dt="2024-12-06T06:54:16.200" v="1070" actId="782"/>
          <ac:spMkLst>
            <pc:docMk/>
            <pc:sldMk cId="3048274825" sldId="302"/>
            <ac:spMk id="52" creationId="{EF525C65-F6EF-D80A-0218-3514AC1683F4}"/>
          </ac:spMkLst>
        </pc:spChg>
        <pc:spChg chg="add del mod">
          <ac:chgData name="Mathias Richerzhagen" userId="061c65f5-fcc4-473b-b050-8f78d278d79d" providerId="ADAL" clId="{991A3D54-A195-49DD-95E3-B8FCA2AA2B41}" dt="2024-12-06T06:50:52.479" v="854" actId="478"/>
          <ac:spMkLst>
            <pc:docMk/>
            <pc:sldMk cId="3048274825" sldId="302"/>
            <ac:spMk id="53" creationId="{613D1493-2907-8D80-5591-D2A2436FE18A}"/>
          </ac:spMkLst>
        </pc:spChg>
        <pc:spChg chg="add mod">
          <ac:chgData name="Mathias Richerzhagen" userId="061c65f5-fcc4-473b-b050-8f78d278d79d" providerId="ADAL" clId="{991A3D54-A195-49DD-95E3-B8FCA2AA2B41}" dt="2024-12-06T06:53:13.999" v="1063" actId="20577"/>
          <ac:spMkLst>
            <pc:docMk/>
            <pc:sldMk cId="3048274825" sldId="302"/>
            <ac:spMk id="54" creationId="{9E5878D1-68DC-5559-55A0-743DFA59F330}"/>
          </ac:spMkLst>
        </pc:spChg>
        <pc:grpChg chg="add mod">
          <ac:chgData name="Mathias Richerzhagen" userId="061c65f5-fcc4-473b-b050-8f78d278d79d" providerId="ADAL" clId="{991A3D54-A195-49DD-95E3-B8FCA2AA2B41}" dt="2024-12-06T06:45:30.175" v="569" actId="1076"/>
          <ac:grpSpMkLst>
            <pc:docMk/>
            <pc:sldMk cId="3048274825" sldId="302"/>
            <ac:grpSpMk id="25" creationId="{34551CB6-C7D3-44FA-4915-AE41107C5039}"/>
          </ac:grpSpMkLst>
        </pc:grpChg>
        <pc:grpChg chg="add mod">
          <ac:chgData name="Mathias Richerzhagen" userId="061c65f5-fcc4-473b-b050-8f78d278d79d" providerId="ADAL" clId="{991A3D54-A195-49DD-95E3-B8FCA2AA2B41}" dt="2024-12-06T06:46:52.160" v="681" actId="14100"/>
          <ac:grpSpMkLst>
            <pc:docMk/>
            <pc:sldMk cId="3048274825" sldId="302"/>
            <ac:grpSpMk id="26" creationId="{5D784066-6456-BB83-C3EC-C37021333B0A}"/>
          </ac:grpSpMkLst>
        </pc:grpChg>
        <pc:grpChg chg="add mod">
          <ac:chgData name="Mathias Richerzhagen" userId="061c65f5-fcc4-473b-b050-8f78d278d79d" providerId="ADAL" clId="{991A3D54-A195-49DD-95E3-B8FCA2AA2B41}" dt="2024-12-06T06:45:30.175" v="569" actId="1076"/>
          <ac:grpSpMkLst>
            <pc:docMk/>
            <pc:sldMk cId="3048274825" sldId="302"/>
            <ac:grpSpMk id="27" creationId="{39284A83-0E6C-D549-DB1A-293F70EC4D99}"/>
          </ac:grpSpMkLst>
        </pc:grpChg>
        <pc:grpChg chg="add mod">
          <ac:chgData name="Mathias Richerzhagen" userId="061c65f5-fcc4-473b-b050-8f78d278d79d" providerId="ADAL" clId="{991A3D54-A195-49DD-95E3-B8FCA2AA2B41}" dt="2024-12-06T06:45:30.175" v="569" actId="1076"/>
          <ac:grpSpMkLst>
            <pc:docMk/>
            <pc:sldMk cId="3048274825" sldId="302"/>
            <ac:grpSpMk id="36" creationId="{F1984454-9AAB-B9FB-26B9-72A0B96DE0B3}"/>
          </ac:grpSpMkLst>
        </pc:grpChg>
        <pc:grpChg chg="add mod">
          <ac:chgData name="Mathias Richerzhagen" userId="061c65f5-fcc4-473b-b050-8f78d278d79d" providerId="ADAL" clId="{991A3D54-A195-49DD-95E3-B8FCA2AA2B41}" dt="2024-12-06T06:46:52.160" v="681" actId="14100"/>
          <ac:grpSpMkLst>
            <pc:docMk/>
            <pc:sldMk cId="3048274825" sldId="302"/>
            <ac:grpSpMk id="41" creationId="{7F019576-724E-D89F-261E-DC6AA9056EA6}"/>
          </ac:grpSpMkLst>
        </pc:grpChg>
        <pc:grpChg chg="add mod">
          <ac:chgData name="Mathias Richerzhagen" userId="061c65f5-fcc4-473b-b050-8f78d278d79d" providerId="ADAL" clId="{991A3D54-A195-49DD-95E3-B8FCA2AA2B41}" dt="2024-12-06T06:45:30.175" v="569" actId="1076"/>
          <ac:grpSpMkLst>
            <pc:docMk/>
            <pc:sldMk cId="3048274825" sldId="302"/>
            <ac:grpSpMk id="42" creationId="{D9599B47-7889-CB48-87AD-719EC54A2018}"/>
          </ac:grpSpMkLst>
        </pc:grpChg>
        <pc:picChg chg="add del mod">
          <ac:chgData name="Mathias Richerzhagen" userId="061c65f5-fcc4-473b-b050-8f78d278d79d" providerId="ADAL" clId="{991A3D54-A195-49DD-95E3-B8FCA2AA2B41}" dt="2024-12-06T06:30:07.054" v="411" actId="478"/>
          <ac:picMkLst>
            <pc:docMk/>
            <pc:sldMk cId="3048274825" sldId="302"/>
            <ac:picMk id="7" creationId="{B2966F3D-3241-D0F7-3221-E527505F2A19}"/>
          </ac:picMkLst>
        </pc:picChg>
        <pc:picChg chg="add del mod">
          <ac:chgData name="Mathias Richerzhagen" userId="061c65f5-fcc4-473b-b050-8f78d278d79d" providerId="ADAL" clId="{991A3D54-A195-49DD-95E3-B8FCA2AA2B41}" dt="2024-12-06T06:30:32.959" v="414" actId="478"/>
          <ac:picMkLst>
            <pc:docMk/>
            <pc:sldMk cId="3048274825" sldId="302"/>
            <ac:picMk id="8" creationId="{061FB925-2CA2-0374-92E3-50F7AA1D3F17}"/>
          </ac:picMkLst>
        </pc:picChg>
        <pc:picChg chg="add del mod">
          <ac:chgData name="Mathias Richerzhagen" userId="061c65f5-fcc4-473b-b050-8f78d278d79d" providerId="ADAL" clId="{991A3D54-A195-49DD-95E3-B8FCA2AA2B41}" dt="2024-12-06T06:34:07.775" v="419" actId="478"/>
          <ac:picMkLst>
            <pc:docMk/>
            <pc:sldMk cId="3048274825" sldId="302"/>
            <ac:picMk id="10" creationId="{D41576D9-C7B2-9B78-E29A-729F25F9E9A0}"/>
          </ac:picMkLst>
        </pc:picChg>
        <pc:picChg chg="add mod">
          <ac:chgData name="Mathias Richerzhagen" userId="061c65f5-fcc4-473b-b050-8f78d278d79d" providerId="ADAL" clId="{991A3D54-A195-49DD-95E3-B8FCA2AA2B41}" dt="2024-12-06T06:46:52.160" v="681" actId="14100"/>
          <ac:picMkLst>
            <pc:docMk/>
            <pc:sldMk cId="3048274825" sldId="302"/>
            <ac:picMk id="16" creationId="{2DCB5B95-3F89-8BE2-B43B-00D9EBA12738}"/>
          </ac:picMkLst>
        </pc:picChg>
        <pc:picChg chg="add mod">
          <ac:chgData name="Mathias Richerzhagen" userId="061c65f5-fcc4-473b-b050-8f78d278d79d" providerId="ADAL" clId="{991A3D54-A195-49DD-95E3-B8FCA2AA2B41}" dt="2024-12-06T06:45:30.175" v="569" actId="1076"/>
          <ac:picMkLst>
            <pc:docMk/>
            <pc:sldMk cId="3048274825" sldId="302"/>
            <ac:picMk id="18" creationId="{78627E23-5465-14B0-D5F2-DCBE2308BF74}"/>
          </ac:picMkLst>
        </pc:picChg>
        <pc:picChg chg="mod">
          <ac:chgData name="Mathias Richerzhagen" userId="061c65f5-fcc4-473b-b050-8f78d278d79d" providerId="ADAL" clId="{991A3D54-A195-49DD-95E3-B8FCA2AA2B41}" dt="2024-12-06T06:45:30.175" v="569" actId="1076"/>
          <ac:picMkLst>
            <pc:docMk/>
            <pc:sldMk cId="3048274825" sldId="302"/>
            <ac:picMk id="28" creationId="{D0F58316-E64C-6A0C-9E36-C244C3DA153E}"/>
          </ac:picMkLst>
        </pc:picChg>
        <pc:picChg chg="add mod">
          <ac:chgData name="Mathias Richerzhagen" userId="061c65f5-fcc4-473b-b050-8f78d278d79d" providerId="ADAL" clId="{991A3D54-A195-49DD-95E3-B8FCA2AA2B41}" dt="2024-12-06T06:45:30.175" v="569" actId="1076"/>
          <ac:picMkLst>
            <pc:docMk/>
            <pc:sldMk cId="3048274825" sldId="302"/>
            <ac:picMk id="32" creationId="{176A310B-F619-313D-4005-37C11E8557EA}"/>
          </ac:picMkLst>
        </pc:picChg>
        <pc:picChg chg="add mod">
          <ac:chgData name="Mathias Richerzhagen" userId="061c65f5-fcc4-473b-b050-8f78d278d79d" providerId="ADAL" clId="{991A3D54-A195-49DD-95E3-B8FCA2AA2B41}" dt="2024-12-06T06:49:51.461" v="780" actId="1076"/>
          <ac:picMkLst>
            <pc:docMk/>
            <pc:sldMk cId="3048274825" sldId="302"/>
            <ac:picMk id="49" creationId="{17FD01AC-6DDE-93A7-9FEE-8504023BFB8F}"/>
          </ac:picMkLst>
        </pc:picChg>
        <pc:picChg chg="add mod">
          <ac:chgData name="Mathias Richerzhagen" userId="061c65f5-fcc4-473b-b050-8f78d278d79d" providerId="ADAL" clId="{991A3D54-A195-49DD-95E3-B8FCA2AA2B41}" dt="2024-12-06T06:46:52.160" v="681" actId="14100"/>
          <ac:picMkLst>
            <pc:docMk/>
            <pc:sldMk cId="3048274825" sldId="302"/>
            <ac:picMk id="1026" creationId="{5B22AFA4-97C2-37E2-4F3D-C5EF286D4850}"/>
          </ac:picMkLst>
        </pc:picChg>
        <pc:picChg chg="add mod">
          <ac:chgData name="Mathias Richerzhagen" userId="061c65f5-fcc4-473b-b050-8f78d278d79d" providerId="ADAL" clId="{991A3D54-A195-49DD-95E3-B8FCA2AA2B41}" dt="2024-12-06T06:45:30.175" v="569" actId="1076"/>
          <ac:picMkLst>
            <pc:docMk/>
            <pc:sldMk cId="3048274825" sldId="302"/>
            <ac:picMk id="1028" creationId="{1C3E35C2-E17E-56F8-D1C6-25F16E7D85D7}"/>
          </ac:picMkLst>
        </pc:picChg>
        <pc:picChg chg="add mod">
          <ac:chgData name="Mathias Richerzhagen" userId="061c65f5-fcc4-473b-b050-8f78d278d79d" providerId="ADAL" clId="{991A3D54-A195-49DD-95E3-B8FCA2AA2B41}" dt="2024-12-06T06:46:57.853" v="683" actId="1076"/>
          <ac:picMkLst>
            <pc:docMk/>
            <pc:sldMk cId="3048274825" sldId="302"/>
            <ac:picMk id="1030" creationId="{F34DAF30-328C-F309-38EB-83791DCEFFCE}"/>
          </ac:picMkLst>
        </pc:picChg>
      </pc:sldChg>
      <pc:sldChg chg="add del">
        <pc:chgData name="Mathias Richerzhagen" userId="061c65f5-fcc4-473b-b050-8f78d278d79d" providerId="ADAL" clId="{991A3D54-A195-49DD-95E3-B8FCA2AA2B41}" dt="2024-12-06T06:20:29.627" v="29" actId="2696"/>
        <pc:sldMkLst>
          <pc:docMk/>
          <pc:sldMk cId="663194398" sldId="303"/>
        </pc:sldMkLst>
      </pc:sldChg>
    </pc:docChg>
  </pc:docChgLst>
  <pc:docChgLst>
    <pc:chgData name="Mathias Richerzhagen" userId="061c65f5-fcc4-473b-b050-8f78d278d79d" providerId="ADAL" clId="{87D913A3-6633-425E-819B-2C6E5F644E59}"/>
    <pc:docChg chg="undo redo custSel modSld">
      <pc:chgData name="Mathias Richerzhagen" userId="061c65f5-fcc4-473b-b050-8f78d278d79d" providerId="ADAL" clId="{87D913A3-6633-425E-819B-2C6E5F644E59}" dt="2024-12-04T09:39:12.532" v="896" actId="1076"/>
      <pc:docMkLst>
        <pc:docMk/>
      </pc:docMkLst>
      <pc:sldChg chg="addSp delSp modSp mod">
        <pc:chgData name="Mathias Richerzhagen" userId="061c65f5-fcc4-473b-b050-8f78d278d79d" providerId="ADAL" clId="{87D913A3-6633-425E-819B-2C6E5F644E59}" dt="2024-12-04T09:29:57.204" v="596" actId="14100"/>
        <pc:sldMkLst>
          <pc:docMk/>
          <pc:sldMk cId="866974194" sldId="298"/>
        </pc:sldMkLst>
        <pc:spChg chg="del">
          <ac:chgData name="Mathias Richerzhagen" userId="061c65f5-fcc4-473b-b050-8f78d278d79d" providerId="ADAL" clId="{87D913A3-6633-425E-819B-2C6E5F644E59}" dt="2024-12-04T09:14:27.639" v="0" actId="478"/>
          <ac:spMkLst>
            <pc:docMk/>
            <pc:sldMk cId="866974194" sldId="298"/>
            <ac:spMk id="3" creationId="{7C83E420-0CB6-12C9-626D-667E87BD3AB4}"/>
          </ac:spMkLst>
        </pc:spChg>
        <pc:spChg chg="del">
          <ac:chgData name="Mathias Richerzhagen" userId="061c65f5-fcc4-473b-b050-8f78d278d79d" providerId="ADAL" clId="{87D913A3-6633-425E-819B-2C6E5F644E59}" dt="2024-12-04T09:14:28.543" v="1" actId="478"/>
          <ac:spMkLst>
            <pc:docMk/>
            <pc:sldMk cId="866974194" sldId="298"/>
            <ac:spMk id="5" creationId="{034DB9CC-A76F-04D2-AF28-A1CCAF1A51C3}"/>
          </ac:spMkLst>
        </pc:spChg>
        <pc:spChg chg="add del mod">
          <ac:chgData name="Mathias Richerzhagen" userId="061c65f5-fcc4-473b-b050-8f78d278d79d" providerId="ADAL" clId="{87D913A3-6633-425E-819B-2C6E5F644E59}" dt="2024-12-04T09:14:29.550" v="2" actId="478"/>
          <ac:spMkLst>
            <pc:docMk/>
            <pc:sldMk cId="866974194" sldId="298"/>
            <ac:spMk id="8" creationId="{2BD5F6CF-3015-7C0E-2D1A-A698563ADA6F}"/>
          </ac:spMkLst>
        </pc:spChg>
        <pc:spChg chg="add del mod">
          <ac:chgData name="Mathias Richerzhagen" userId="061c65f5-fcc4-473b-b050-8f78d278d79d" providerId="ADAL" clId="{87D913A3-6633-425E-819B-2C6E5F644E59}" dt="2024-12-04T09:14:30.205" v="3" actId="478"/>
          <ac:spMkLst>
            <pc:docMk/>
            <pc:sldMk cId="866974194" sldId="298"/>
            <ac:spMk id="10" creationId="{A4ACC4BF-54FC-1299-4C7B-459B68E20BBD}"/>
          </ac:spMkLst>
        </pc:spChg>
        <pc:spChg chg="add mod ord">
          <ac:chgData name="Mathias Richerzhagen" userId="061c65f5-fcc4-473b-b050-8f78d278d79d" providerId="ADAL" clId="{87D913A3-6633-425E-819B-2C6E5F644E59}" dt="2024-12-04T09:29:37.642" v="595" actId="166"/>
          <ac:spMkLst>
            <pc:docMk/>
            <pc:sldMk cId="866974194" sldId="298"/>
            <ac:spMk id="11" creationId="{E4A5647E-77FC-2F25-BDD9-93FA320B2959}"/>
          </ac:spMkLst>
        </pc:spChg>
        <pc:spChg chg="add del mod">
          <ac:chgData name="Mathias Richerzhagen" userId="061c65f5-fcc4-473b-b050-8f78d278d79d" providerId="ADAL" clId="{87D913A3-6633-425E-819B-2C6E5F644E59}" dt="2024-12-04T09:15:03.115" v="32" actId="478"/>
          <ac:spMkLst>
            <pc:docMk/>
            <pc:sldMk cId="866974194" sldId="298"/>
            <ac:spMk id="12" creationId="{19DF8CBF-D45D-0161-96C1-728DD20F99D5}"/>
          </ac:spMkLst>
        </pc:spChg>
        <pc:spChg chg="add del mod">
          <ac:chgData name="Mathias Richerzhagen" userId="061c65f5-fcc4-473b-b050-8f78d278d79d" providerId="ADAL" clId="{87D913A3-6633-425E-819B-2C6E5F644E59}" dt="2024-12-04T09:15:03.435" v="33" actId="478"/>
          <ac:spMkLst>
            <pc:docMk/>
            <pc:sldMk cId="866974194" sldId="298"/>
            <ac:spMk id="13" creationId="{7ED39792-CE77-9DB1-D3A5-B2DEA3A08BAC}"/>
          </ac:spMkLst>
        </pc:spChg>
        <pc:spChg chg="add del mod">
          <ac:chgData name="Mathias Richerzhagen" userId="061c65f5-fcc4-473b-b050-8f78d278d79d" providerId="ADAL" clId="{87D913A3-6633-425E-819B-2C6E5F644E59}" dt="2024-12-04T09:16:09.245" v="112" actId="478"/>
          <ac:spMkLst>
            <pc:docMk/>
            <pc:sldMk cId="866974194" sldId="298"/>
            <ac:spMk id="14" creationId="{DD7F0CE7-4C30-F24C-8B47-331C07C5FE8A}"/>
          </ac:spMkLst>
        </pc:spChg>
        <pc:spChg chg="add mod ord">
          <ac:chgData name="Mathias Richerzhagen" userId="061c65f5-fcc4-473b-b050-8f78d278d79d" providerId="ADAL" clId="{87D913A3-6633-425E-819B-2C6E5F644E59}" dt="2024-12-04T09:29:37.642" v="595" actId="166"/>
          <ac:spMkLst>
            <pc:docMk/>
            <pc:sldMk cId="866974194" sldId="298"/>
            <ac:spMk id="15" creationId="{48757002-9EA3-6A2F-5210-70B635FBB94B}"/>
          </ac:spMkLst>
        </pc:spChg>
        <pc:spChg chg="add mod ord">
          <ac:chgData name="Mathias Richerzhagen" userId="061c65f5-fcc4-473b-b050-8f78d278d79d" providerId="ADAL" clId="{87D913A3-6633-425E-819B-2C6E5F644E59}" dt="2024-12-04T09:29:37.642" v="595" actId="166"/>
          <ac:spMkLst>
            <pc:docMk/>
            <pc:sldMk cId="866974194" sldId="298"/>
            <ac:spMk id="16" creationId="{D1FC3D68-0086-463F-6127-0CBCA5D6A4F9}"/>
          </ac:spMkLst>
        </pc:spChg>
        <pc:spChg chg="add mod ord">
          <ac:chgData name="Mathias Richerzhagen" userId="061c65f5-fcc4-473b-b050-8f78d278d79d" providerId="ADAL" clId="{87D913A3-6633-425E-819B-2C6E5F644E59}" dt="2024-12-04T09:29:37.642" v="595" actId="166"/>
          <ac:spMkLst>
            <pc:docMk/>
            <pc:sldMk cId="866974194" sldId="298"/>
            <ac:spMk id="17" creationId="{D9E2BFB7-6249-0D27-CF5B-264B978CCF1A}"/>
          </ac:spMkLst>
        </pc:spChg>
        <pc:spChg chg="add mod ord">
          <ac:chgData name="Mathias Richerzhagen" userId="061c65f5-fcc4-473b-b050-8f78d278d79d" providerId="ADAL" clId="{87D913A3-6633-425E-819B-2C6E5F644E59}" dt="2024-12-04T09:29:37.642" v="595" actId="166"/>
          <ac:spMkLst>
            <pc:docMk/>
            <pc:sldMk cId="866974194" sldId="298"/>
            <ac:spMk id="18" creationId="{32F20BC7-388D-D468-1CD5-3CFFE9561A66}"/>
          </ac:spMkLst>
        </pc:spChg>
        <pc:spChg chg="add mod ord">
          <ac:chgData name="Mathias Richerzhagen" userId="061c65f5-fcc4-473b-b050-8f78d278d79d" providerId="ADAL" clId="{87D913A3-6633-425E-819B-2C6E5F644E59}" dt="2024-12-04T09:29:37.642" v="595" actId="166"/>
          <ac:spMkLst>
            <pc:docMk/>
            <pc:sldMk cId="866974194" sldId="298"/>
            <ac:spMk id="19" creationId="{1F114AEC-789C-E901-B8D0-E6002856F5D6}"/>
          </ac:spMkLst>
        </pc:spChg>
        <pc:spChg chg="add mod ord">
          <ac:chgData name="Mathias Richerzhagen" userId="061c65f5-fcc4-473b-b050-8f78d278d79d" providerId="ADAL" clId="{87D913A3-6633-425E-819B-2C6E5F644E59}" dt="2024-12-04T09:29:37.642" v="595" actId="166"/>
          <ac:spMkLst>
            <pc:docMk/>
            <pc:sldMk cId="866974194" sldId="298"/>
            <ac:spMk id="20" creationId="{4CAF17FA-1CAB-9634-6272-1396D5883EC4}"/>
          </ac:spMkLst>
        </pc:spChg>
        <pc:spChg chg="add mod ord">
          <ac:chgData name="Mathias Richerzhagen" userId="061c65f5-fcc4-473b-b050-8f78d278d79d" providerId="ADAL" clId="{87D913A3-6633-425E-819B-2C6E5F644E59}" dt="2024-12-04T09:29:37.642" v="595" actId="166"/>
          <ac:spMkLst>
            <pc:docMk/>
            <pc:sldMk cId="866974194" sldId="298"/>
            <ac:spMk id="21" creationId="{71384A9E-EE94-68D6-2461-2CC88DB8E3B4}"/>
          </ac:spMkLst>
        </pc:spChg>
        <pc:spChg chg="add del mod">
          <ac:chgData name="Mathias Richerzhagen" userId="061c65f5-fcc4-473b-b050-8f78d278d79d" providerId="ADAL" clId="{87D913A3-6633-425E-819B-2C6E5F644E59}" dt="2024-12-04T09:21:21.900" v="227" actId="478"/>
          <ac:spMkLst>
            <pc:docMk/>
            <pc:sldMk cId="866974194" sldId="298"/>
            <ac:spMk id="22" creationId="{931D8EB0-D4B7-2A14-3045-F841921A4291}"/>
          </ac:spMkLst>
        </pc:spChg>
        <pc:spChg chg="add mod">
          <ac:chgData name="Mathias Richerzhagen" userId="061c65f5-fcc4-473b-b050-8f78d278d79d" providerId="ADAL" clId="{87D913A3-6633-425E-819B-2C6E5F644E59}" dt="2024-12-04T09:26:01.841" v="342" actId="1035"/>
          <ac:spMkLst>
            <pc:docMk/>
            <pc:sldMk cId="866974194" sldId="298"/>
            <ac:spMk id="23" creationId="{CE18C3AE-3346-DB5A-AD58-54D84D38D70A}"/>
          </ac:spMkLst>
        </pc:spChg>
        <pc:spChg chg="add mod">
          <ac:chgData name="Mathias Richerzhagen" userId="061c65f5-fcc4-473b-b050-8f78d278d79d" providerId="ADAL" clId="{87D913A3-6633-425E-819B-2C6E5F644E59}" dt="2024-12-04T09:26:01.841" v="342" actId="1035"/>
          <ac:spMkLst>
            <pc:docMk/>
            <pc:sldMk cId="866974194" sldId="298"/>
            <ac:spMk id="24" creationId="{3F5D5765-AEC7-581C-3535-60EF979ABDAA}"/>
          </ac:spMkLst>
        </pc:spChg>
        <pc:spChg chg="add mod">
          <ac:chgData name="Mathias Richerzhagen" userId="061c65f5-fcc4-473b-b050-8f78d278d79d" providerId="ADAL" clId="{87D913A3-6633-425E-819B-2C6E5F644E59}" dt="2024-12-04T09:26:01.841" v="342" actId="1035"/>
          <ac:spMkLst>
            <pc:docMk/>
            <pc:sldMk cId="866974194" sldId="298"/>
            <ac:spMk id="25" creationId="{6CA798F5-5374-25F8-61BA-7D14B29563ED}"/>
          </ac:spMkLst>
        </pc:spChg>
        <pc:spChg chg="add mod ord">
          <ac:chgData name="Mathias Richerzhagen" userId="061c65f5-fcc4-473b-b050-8f78d278d79d" providerId="ADAL" clId="{87D913A3-6633-425E-819B-2C6E5F644E59}" dt="2024-12-04T09:29:37.642" v="595" actId="166"/>
          <ac:spMkLst>
            <pc:docMk/>
            <pc:sldMk cId="866974194" sldId="298"/>
            <ac:spMk id="26" creationId="{7F4939FE-D926-F111-DC2B-1C2932E0CD38}"/>
          </ac:spMkLst>
        </pc:spChg>
        <pc:spChg chg="add mod">
          <ac:chgData name="Mathias Richerzhagen" userId="061c65f5-fcc4-473b-b050-8f78d278d79d" providerId="ADAL" clId="{87D913A3-6633-425E-819B-2C6E5F644E59}" dt="2024-12-04T09:26:01.841" v="342" actId="1035"/>
          <ac:spMkLst>
            <pc:docMk/>
            <pc:sldMk cId="866974194" sldId="298"/>
            <ac:spMk id="73" creationId="{C4A4DA1A-4EF1-4DEA-F486-E50BD0B347EF}"/>
          </ac:spMkLst>
        </pc:spChg>
        <pc:spChg chg="add mod">
          <ac:chgData name="Mathias Richerzhagen" userId="061c65f5-fcc4-473b-b050-8f78d278d79d" providerId="ADAL" clId="{87D913A3-6633-425E-819B-2C6E5F644E59}" dt="2024-12-04T09:26:01.841" v="342" actId="1035"/>
          <ac:spMkLst>
            <pc:docMk/>
            <pc:sldMk cId="866974194" sldId="298"/>
            <ac:spMk id="74" creationId="{27365E2F-FB7C-1190-5863-BA0E764D0390}"/>
          </ac:spMkLst>
        </pc:spChg>
        <pc:spChg chg="add mod">
          <ac:chgData name="Mathias Richerzhagen" userId="061c65f5-fcc4-473b-b050-8f78d278d79d" providerId="ADAL" clId="{87D913A3-6633-425E-819B-2C6E5F644E59}" dt="2024-12-04T09:26:01.841" v="342" actId="1035"/>
          <ac:spMkLst>
            <pc:docMk/>
            <pc:sldMk cId="866974194" sldId="298"/>
            <ac:spMk id="75" creationId="{32F8550C-EEA9-D65D-A648-8208745A2226}"/>
          </ac:spMkLst>
        </pc:spChg>
        <pc:spChg chg="add mod">
          <ac:chgData name="Mathias Richerzhagen" userId="061c65f5-fcc4-473b-b050-8f78d278d79d" providerId="ADAL" clId="{87D913A3-6633-425E-819B-2C6E5F644E59}" dt="2024-12-04T09:26:01.841" v="342" actId="1035"/>
          <ac:spMkLst>
            <pc:docMk/>
            <pc:sldMk cId="866974194" sldId="298"/>
            <ac:spMk id="76" creationId="{7CAB6F9C-AB0A-6717-8984-C73EE79D6255}"/>
          </ac:spMkLst>
        </pc:spChg>
        <pc:spChg chg="add del mod">
          <ac:chgData name="Mathias Richerzhagen" userId="061c65f5-fcc4-473b-b050-8f78d278d79d" providerId="ADAL" clId="{87D913A3-6633-425E-819B-2C6E5F644E59}" dt="2024-12-04T09:22:54.829" v="257" actId="478"/>
          <ac:spMkLst>
            <pc:docMk/>
            <pc:sldMk cId="866974194" sldId="298"/>
            <ac:spMk id="77" creationId="{E054403C-0794-5264-E61C-A1AF8E799F43}"/>
          </ac:spMkLst>
        </pc:spChg>
        <pc:spChg chg="add del mod">
          <ac:chgData name="Mathias Richerzhagen" userId="061c65f5-fcc4-473b-b050-8f78d278d79d" providerId="ADAL" clId="{87D913A3-6633-425E-819B-2C6E5F644E59}" dt="2024-12-04T09:22:54.829" v="257" actId="478"/>
          <ac:spMkLst>
            <pc:docMk/>
            <pc:sldMk cId="866974194" sldId="298"/>
            <ac:spMk id="78" creationId="{DA9C5F7F-6BF0-30AD-C7E7-FADC6216B52F}"/>
          </ac:spMkLst>
        </pc:spChg>
        <pc:spChg chg="add del mod">
          <ac:chgData name="Mathias Richerzhagen" userId="061c65f5-fcc4-473b-b050-8f78d278d79d" providerId="ADAL" clId="{87D913A3-6633-425E-819B-2C6E5F644E59}" dt="2024-12-04T09:22:54.829" v="257" actId="478"/>
          <ac:spMkLst>
            <pc:docMk/>
            <pc:sldMk cId="866974194" sldId="298"/>
            <ac:spMk id="79" creationId="{C944136A-643E-9D91-467B-B0FB6A5C7215}"/>
          </ac:spMkLst>
        </pc:spChg>
        <pc:spChg chg="add del mod">
          <ac:chgData name="Mathias Richerzhagen" userId="061c65f5-fcc4-473b-b050-8f78d278d79d" providerId="ADAL" clId="{87D913A3-6633-425E-819B-2C6E5F644E59}" dt="2024-12-04T09:22:54.829" v="257" actId="478"/>
          <ac:spMkLst>
            <pc:docMk/>
            <pc:sldMk cId="866974194" sldId="298"/>
            <ac:spMk id="80" creationId="{CE99ADC3-5CDA-E823-3303-9EC92776B55C}"/>
          </ac:spMkLst>
        </pc:spChg>
        <pc:spChg chg="add del mod">
          <ac:chgData name="Mathias Richerzhagen" userId="061c65f5-fcc4-473b-b050-8f78d278d79d" providerId="ADAL" clId="{87D913A3-6633-425E-819B-2C6E5F644E59}" dt="2024-12-04T09:22:54.829" v="257" actId="478"/>
          <ac:spMkLst>
            <pc:docMk/>
            <pc:sldMk cId="866974194" sldId="298"/>
            <ac:spMk id="81" creationId="{6B27B7D9-E4E0-222B-3D0E-183A2C19129E}"/>
          </ac:spMkLst>
        </pc:spChg>
        <pc:spChg chg="add del mod">
          <ac:chgData name="Mathias Richerzhagen" userId="061c65f5-fcc4-473b-b050-8f78d278d79d" providerId="ADAL" clId="{87D913A3-6633-425E-819B-2C6E5F644E59}" dt="2024-12-04T09:22:54.829" v="257" actId="478"/>
          <ac:spMkLst>
            <pc:docMk/>
            <pc:sldMk cId="866974194" sldId="298"/>
            <ac:spMk id="82" creationId="{5D95050C-83D2-DF79-73DE-748577028E7B}"/>
          </ac:spMkLst>
        </pc:spChg>
        <pc:spChg chg="add del mod">
          <ac:chgData name="Mathias Richerzhagen" userId="061c65f5-fcc4-473b-b050-8f78d278d79d" providerId="ADAL" clId="{87D913A3-6633-425E-819B-2C6E5F644E59}" dt="2024-12-04T09:22:54.829" v="257" actId="478"/>
          <ac:spMkLst>
            <pc:docMk/>
            <pc:sldMk cId="866974194" sldId="298"/>
            <ac:spMk id="83" creationId="{A94FF9EB-F604-79B7-91AB-C19919C4740D}"/>
          </ac:spMkLst>
        </pc:spChg>
        <pc:spChg chg="add del mod">
          <ac:chgData name="Mathias Richerzhagen" userId="061c65f5-fcc4-473b-b050-8f78d278d79d" providerId="ADAL" clId="{87D913A3-6633-425E-819B-2C6E5F644E59}" dt="2024-12-04T09:22:45.165" v="254" actId="478"/>
          <ac:spMkLst>
            <pc:docMk/>
            <pc:sldMk cId="866974194" sldId="298"/>
            <ac:spMk id="84" creationId="{C06C48AA-9EE3-2B58-DEC8-9528E0E8CE22}"/>
          </ac:spMkLst>
        </pc:spChg>
        <pc:spChg chg="add del mod">
          <ac:chgData name="Mathias Richerzhagen" userId="061c65f5-fcc4-473b-b050-8f78d278d79d" providerId="ADAL" clId="{87D913A3-6633-425E-819B-2C6E5F644E59}" dt="2024-12-04T09:22:45.165" v="254" actId="478"/>
          <ac:spMkLst>
            <pc:docMk/>
            <pc:sldMk cId="866974194" sldId="298"/>
            <ac:spMk id="85" creationId="{6DE5A210-3F57-FB41-8611-76EC70EEB8C6}"/>
          </ac:spMkLst>
        </pc:spChg>
        <pc:spChg chg="add mod">
          <ac:chgData name="Mathias Richerzhagen" userId="061c65f5-fcc4-473b-b050-8f78d278d79d" providerId="ADAL" clId="{87D913A3-6633-425E-819B-2C6E5F644E59}" dt="2024-12-04T09:22:32.516" v="250"/>
          <ac:spMkLst>
            <pc:docMk/>
            <pc:sldMk cId="866974194" sldId="298"/>
            <ac:spMk id="86" creationId="{89546FA5-DF84-F172-4F04-093EF96FE129}"/>
          </ac:spMkLst>
        </pc:spChg>
        <pc:spChg chg="add mod">
          <ac:chgData name="Mathias Richerzhagen" userId="061c65f5-fcc4-473b-b050-8f78d278d79d" providerId="ADAL" clId="{87D913A3-6633-425E-819B-2C6E5F644E59}" dt="2024-12-04T09:22:32.516" v="250"/>
          <ac:spMkLst>
            <pc:docMk/>
            <pc:sldMk cId="866974194" sldId="298"/>
            <ac:spMk id="87" creationId="{FC922E2F-CBD8-B373-518D-B3631D0D2813}"/>
          </ac:spMkLst>
        </pc:spChg>
        <pc:spChg chg="add mod">
          <ac:chgData name="Mathias Richerzhagen" userId="061c65f5-fcc4-473b-b050-8f78d278d79d" providerId="ADAL" clId="{87D913A3-6633-425E-819B-2C6E5F644E59}" dt="2024-12-04T09:26:01.841" v="342" actId="1035"/>
          <ac:spMkLst>
            <pc:docMk/>
            <pc:sldMk cId="866974194" sldId="298"/>
            <ac:spMk id="88" creationId="{81DBC42E-C8FF-C185-B7F7-A7963E4F9977}"/>
          </ac:spMkLst>
        </pc:spChg>
        <pc:spChg chg="add mod">
          <ac:chgData name="Mathias Richerzhagen" userId="061c65f5-fcc4-473b-b050-8f78d278d79d" providerId="ADAL" clId="{87D913A3-6633-425E-819B-2C6E5F644E59}" dt="2024-12-04T09:26:01.841" v="342" actId="1035"/>
          <ac:spMkLst>
            <pc:docMk/>
            <pc:sldMk cId="866974194" sldId="298"/>
            <ac:spMk id="89" creationId="{BA030162-04D3-CCB8-EDA9-EB4CC646BAB8}"/>
          </ac:spMkLst>
        </pc:spChg>
        <pc:spChg chg="add mod">
          <ac:chgData name="Mathias Richerzhagen" userId="061c65f5-fcc4-473b-b050-8f78d278d79d" providerId="ADAL" clId="{87D913A3-6633-425E-819B-2C6E5F644E59}" dt="2024-12-04T09:26:01.841" v="342" actId="1035"/>
          <ac:spMkLst>
            <pc:docMk/>
            <pc:sldMk cId="866974194" sldId="298"/>
            <ac:spMk id="90" creationId="{3A1D2645-C95A-C350-ED12-DD48E494F0F0}"/>
          </ac:spMkLst>
        </pc:spChg>
        <pc:spChg chg="add mod">
          <ac:chgData name="Mathias Richerzhagen" userId="061c65f5-fcc4-473b-b050-8f78d278d79d" providerId="ADAL" clId="{87D913A3-6633-425E-819B-2C6E5F644E59}" dt="2024-12-04T09:26:01.841" v="342" actId="1035"/>
          <ac:spMkLst>
            <pc:docMk/>
            <pc:sldMk cId="866974194" sldId="298"/>
            <ac:spMk id="91" creationId="{44B468AF-B7BF-81F0-725F-86175FA0F676}"/>
          </ac:spMkLst>
        </pc:spChg>
        <pc:spChg chg="add mod">
          <ac:chgData name="Mathias Richerzhagen" userId="061c65f5-fcc4-473b-b050-8f78d278d79d" providerId="ADAL" clId="{87D913A3-6633-425E-819B-2C6E5F644E59}" dt="2024-12-04T09:26:01.841" v="342" actId="1035"/>
          <ac:spMkLst>
            <pc:docMk/>
            <pc:sldMk cId="866974194" sldId="298"/>
            <ac:spMk id="92" creationId="{8607D8DB-8547-819E-A955-70E169B9A420}"/>
          </ac:spMkLst>
        </pc:spChg>
        <pc:spChg chg="add mod">
          <ac:chgData name="Mathias Richerzhagen" userId="061c65f5-fcc4-473b-b050-8f78d278d79d" providerId="ADAL" clId="{87D913A3-6633-425E-819B-2C6E5F644E59}" dt="2024-12-04T09:26:01.841" v="342" actId="1035"/>
          <ac:spMkLst>
            <pc:docMk/>
            <pc:sldMk cId="866974194" sldId="298"/>
            <ac:spMk id="93" creationId="{0416C08F-2CB9-9D2B-809E-0BEA224134A6}"/>
          </ac:spMkLst>
        </pc:spChg>
        <pc:spChg chg="add mod">
          <ac:chgData name="Mathias Richerzhagen" userId="061c65f5-fcc4-473b-b050-8f78d278d79d" providerId="ADAL" clId="{87D913A3-6633-425E-819B-2C6E5F644E59}" dt="2024-12-04T09:26:01.841" v="342" actId="1035"/>
          <ac:spMkLst>
            <pc:docMk/>
            <pc:sldMk cId="866974194" sldId="298"/>
            <ac:spMk id="94" creationId="{FCC7F65C-6688-F2D4-87CF-A8A0F753F860}"/>
          </ac:spMkLst>
        </pc:spChg>
        <pc:spChg chg="add mod">
          <ac:chgData name="Mathias Richerzhagen" userId="061c65f5-fcc4-473b-b050-8f78d278d79d" providerId="ADAL" clId="{87D913A3-6633-425E-819B-2C6E5F644E59}" dt="2024-12-04T09:26:01.841" v="342" actId="1035"/>
          <ac:spMkLst>
            <pc:docMk/>
            <pc:sldMk cId="866974194" sldId="298"/>
            <ac:spMk id="95" creationId="{8D3508F9-DDD5-6F47-D719-AB7719EB136A}"/>
          </ac:spMkLst>
        </pc:spChg>
        <pc:spChg chg="add mod">
          <ac:chgData name="Mathias Richerzhagen" userId="061c65f5-fcc4-473b-b050-8f78d278d79d" providerId="ADAL" clId="{87D913A3-6633-425E-819B-2C6E5F644E59}" dt="2024-12-04T09:26:01.841" v="342" actId="1035"/>
          <ac:spMkLst>
            <pc:docMk/>
            <pc:sldMk cId="866974194" sldId="298"/>
            <ac:spMk id="96" creationId="{8EA68AAD-B805-C740-8A24-A384EA53B86F}"/>
          </ac:spMkLst>
        </pc:spChg>
        <pc:spChg chg="add mod">
          <ac:chgData name="Mathias Richerzhagen" userId="061c65f5-fcc4-473b-b050-8f78d278d79d" providerId="ADAL" clId="{87D913A3-6633-425E-819B-2C6E5F644E59}" dt="2024-12-04T09:26:01.841" v="342" actId="1035"/>
          <ac:spMkLst>
            <pc:docMk/>
            <pc:sldMk cId="866974194" sldId="298"/>
            <ac:spMk id="97" creationId="{6A4BD2AB-3D91-AE64-96AB-DBF7E37E5D22}"/>
          </ac:spMkLst>
        </pc:spChg>
        <pc:spChg chg="add mod">
          <ac:chgData name="Mathias Richerzhagen" userId="061c65f5-fcc4-473b-b050-8f78d278d79d" providerId="ADAL" clId="{87D913A3-6633-425E-819B-2C6E5F644E59}" dt="2024-12-04T09:26:01.841" v="342" actId="1035"/>
          <ac:spMkLst>
            <pc:docMk/>
            <pc:sldMk cId="866974194" sldId="298"/>
            <ac:spMk id="98" creationId="{C6BDA015-C2B0-CE6E-4247-BD4D3A4EF21B}"/>
          </ac:spMkLst>
        </pc:spChg>
        <pc:spChg chg="add mod">
          <ac:chgData name="Mathias Richerzhagen" userId="061c65f5-fcc4-473b-b050-8f78d278d79d" providerId="ADAL" clId="{87D913A3-6633-425E-819B-2C6E5F644E59}" dt="2024-12-04T09:26:01.841" v="342" actId="1035"/>
          <ac:spMkLst>
            <pc:docMk/>
            <pc:sldMk cId="866974194" sldId="298"/>
            <ac:spMk id="99" creationId="{389FFA52-252A-AB2D-665E-1CBFDEC64138}"/>
          </ac:spMkLst>
        </pc:spChg>
        <pc:spChg chg="add mod">
          <ac:chgData name="Mathias Richerzhagen" userId="061c65f5-fcc4-473b-b050-8f78d278d79d" providerId="ADAL" clId="{87D913A3-6633-425E-819B-2C6E5F644E59}" dt="2024-12-04T09:24:28.053" v="280"/>
          <ac:spMkLst>
            <pc:docMk/>
            <pc:sldMk cId="866974194" sldId="298"/>
            <ac:spMk id="101" creationId="{811BB4E2-CECE-5CEE-9D73-032051F7C2F5}"/>
          </ac:spMkLst>
        </pc:spChg>
        <pc:spChg chg="add mod">
          <ac:chgData name="Mathias Richerzhagen" userId="061c65f5-fcc4-473b-b050-8f78d278d79d" providerId="ADAL" clId="{87D913A3-6633-425E-819B-2C6E5F644E59}" dt="2024-12-04T09:24:28.053" v="280"/>
          <ac:spMkLst>
            <pc:docMk/>
            <pc:sldMk cId="866974194" sldId="298"/>
            <ac:spMk id="102" creationId="{BAF0A6B8-A0D2-7C6C-42A4-EC90007F1CBB}"/>
          </ac:spMkLst>
        </pc:spChg>
        <pc:spChg chg="add mod">
          <ac:chgData name="Mathias Richerzhagen" userId="061c65f5-fcc4-473b-b050-8f78d278d79d" providerId="ADAL" clId="{87D913A3-6633-425E-819B-2C6E5F644E59}" dt="2024-12-04T09:24:28.053" v="280"/>
          <ac:spMkLst>
            <pc:docMk/>
            <pc:sldMk cId="866974194" sldId="298"/>
            <ac:spMk id="103" creationId="{94452405-CF24-AA9C-107F-488A10F7CA91}"/>
          </ac:spMkLst>
        </pc:spChg>
        <pc:spChg chg="add mod">
          <ac:chgData name="Mathias Richerzhagen" userId="061c65f5-fcc4-473b-b050-8f78d278d79d" providerId="ADAL" clId="{87D913A3-6633-425E-819B-2C6E5F644E59}" dt="2024-12-04T09:24:28.053" v="280"/>
          <ac:spMkLst>
            <pc:docMk/>
            <pc:sldMk cId="866974194" sldId="298"/>
            <ac:spMk id="104" creationId="{5A6A9749-B486-432D-5CBD-DC9174115F6E}"/>
          </ac:spMkLst>
        </pc:spChg>
        <pc:spChg chg="add mod">
          <ac:chgData name="Mathias Richerzhagen" userId="061c65f5-fcc4-473b-b050-8f78d278d79d" providerId="ADAL" clId="{87D913A3-6633-425E-819B-2C6E5F644E59}" dt="2024-12-04T09:24:28.053" v="280"/>
          <ac:spMkLst>
            <pc:docMk/>
            <pc:sldMk cId="866974194" sldId="298"/>
            <ac:spMk id="105" creationId="{045F5241-E171-460E-E6DD-E8A52894E7BB}"/>
          </ac:spMkLst>
        </pc:spChg>
        <pc:spChg chg="add mod">
          <ac:chgData name="Mathias Richerzhagen" userId="061c65f5-fcc4-473b-b050-8f78d278d79d" providerId="ADAL" clId="{87D913A3-6633-425E-819B-2C6E5F644E59}" dt="2024-12-04T09:24:28.053" v="280"/>
          <ac:spMkLst>
            <pc:docMk/>
            <pc:sldMk cId="866974194" sldId="298"/>
            <ac:spMk id="106" creationId="{D653215B-1D4B-015D-C9B5-935A9116E135}"/>
          </ac:spMkLst>
        </pc:spChg>
        <pc:spChg chg="add mod">
          <ac:chgData name="Mathias Richerzhagen" userId="061c65f5-fcc4-473b-b050-8f78d278d79d" providerId="ADAL" clId="{87D913A3-6633-425E-819B-2C6E5F644E59}" dt="2024-12-04T09:24:28.053" v="280"/>
          <ac:spMkLst>
            <pc:docMk/>
            <pc:sldMk cId="866974194" sldId="298"/>
            <ac:spMk id="107" creationId="{819A50E4-0851-87E2-3F60-3D105EDD2C84}"/>
          </ac:spMkLst>
        </pc:spChg>
        <pc:spChg chg="add mod">
          <ac:chgData name="Mathias Richerzhagen" userId="061c65f5-fcc4-473b-b050-8f78d278d79d" providerId="ADAL" clId="{87D913A3-6633-425E-819B-2C6E5F644E59}" dt="2024-12-04T09:26:01.841" v="342" actId="1035"/>
          <ac:spMkLst>
            <pc:docMk/>
            <pc:sldMk cId="866974194" sldId="298"/>
            <ac:spMk id="108" creationId="{466636E9-A798-9B2A-06E7-E4BA0649F848}"/>
          </ac:spMkLst>
        </pc:spChg>
        <pc:spChg chg="add mod">
          <ac:chgData name="Mathias Richerzhagen" userId="061c65f5-fcc4-473b-b050-8f78d278d79d" providerId="ADAL" clId="{87D913A3-6633-425E-819B-2C6E5F644E59}" dt="2024-12-04T09:26:01.841" v="342" actId="1035"/>
          <ac:spMkLst>
            <pc:docMk/>
            <pc:sldMk cId="866974194" sldId="298"/>
            <ac:spMk id="109" creationId="{885675DB-AFC2-7701-9E8A-F24507453BE6}"/>
          </ac:spMkLst>
        </pc:spChg>
        <pc:spChg chg="add mod">
          <ac:chgData name="Mathias Richerzhagen" userId="061c65f5-fcc4-473b-b050-8f78d278d79d" providerId="ADAL" clId="{87D913A3-6633-425E-819B-2C6E5F644E59}" dt="2024-12-04T09:26:01.841" v="342" actId="1035"/>
          <ac:spMkLst>
            <pc:docMk/>
            <pc:sldMk cId="866974194" sldId="298"/>
            <ac:spMk id="110" creationId="{5E97EBBD-8532-9ECE-C9FF-2256CA00A976}"/>
          </ac:spMkLst>
        </pc:spChg>
        <pc:spChg chg="add mod">
          <ac:chgData name="Mathias Richerzhagen" userId="061c65f5-fcc4-473b-b050-8f78d278d79d" providerId="ADAL" clId="{87D913A3-6633-425E-819B-2C6E5F644E59}" dt="2024-12-04T09:26:01.841" v="342" actId="1035"/>
          <ac:spMkLst>
            <pc:docMk/>
            <pc:sldMk cId="866974194" sldId="298"/>
            <ac:spMk id="111" creationId="{D917CA25-BFAE-A229-64D7-B6CCC42D5F96}"/>
          </ac:spMkLst>
        </pc:spChg>
        <pc:spChg chg="add mod">
          <ac:chgData name="Mathias Richerzhagen" userId="061c65f5-fcc4-473b-b050-8f78d278d79d" providerId="ADAL" clId="{87D913A3-6633-425E-819B-2C6E5F644E59}" dt="2024-12-04T09:26:01.841" v="342" actId="1035"/>
          <ac:spMkLst>
            <pc:docMk/>
            <pc:sldMk cId="866974194" sldId="298"/>
            <ac:spMk id="112" creationId="{35A34073-930C-768B-4BEA-BF43ED6FD6A8}"/>
          </ac:spMkLst>
        </pc:spChg>
        <pc:spChg chg="add mod">
          <ac:chgData name="Mathias Richerzhagen" userId="061c65f5-fcc4-473b-b050-8f78d278d79d" providerId="ADAL" clId="{87D913A3-6633-425E-819B-2C6E5F644E59}" dt="2024-12-04T09:26:01.841" v="342" actId="1035"/>
          <ac:spMkLst>
            <pc:docMk/>
            <pc:sldMk cId="866974194" sldId="298"/>
            <ac:spMk id="113" creationId="{7E0B7CED-7434-D4FE-2732-20F779EF1C80}"/>
          </ac:spMkLst>
        </pc:spChg>
        <pc:spChg chg="add mod">
          <ac:chgData name="Mathias Richerzhagen" userId="061c65f5-fcc4-473b-b050-8f78d278d79d" providerId="ADAL" clId="{87D913A3-6633-425E-819B-2C6E5F644E59}" dt="2024-12-04T09:26:01.841" v="342" actId="1035"/>
          <ac:spMkLst>
            <pc:docMk/>
            <pc:sldMk cId="866974194" sldId="298"/>
            <ac:spMk id="114" creationId="{B0E2D4A9-91CC-D2B0-2ABE-8B4C6DBB25AA}"/>
          </ac:spMkLst>
        </pc:spChg>
        <pc:spChg chg="add mod">
          <ac:chgData name="Mathias Richerzhagen" userId="061c65f5-fcc4-473b-b050-8f78d278d79d" providerId="ADAL" clId="{87D913A3-6633-425E-819B-2C6E5F644E59}" dt="2024-12-04T09:26:01.841" v="342" actId="1035"/>
          <ac:spMkLst>
            <pc:docMk/>
            <pc:sldMk cId="866974194" sldId="298"/>
            <ac:spMk id="115" creationId="{E2B36C33-C291-774C-EB97-4751C3FEC141}"/>
          </ac:spMkLst>
        </pc:spChg>
        <pc:spChg chg="add mod">
          <ac:chgData name="Mathias Richerzhagen" userId="061c65f5-fcc4-473b-b050-8f78d278d79d" providerId="ADAL" clId="{87D913A3-6633-425E-819B-2C6E5F644E59}" dt="2024-12-04T09:26:01.841" v="342" actId="1035"/>
          <ac:spMkLst>
            <pc:docMk/>
            <pc:sldMk cId="866974194" sldId="298"/>
            <ac:spMk id="116" creationId="{694D6318-90D2-49E8-279F-D7BEE9F29E36}"/>
          </ac:spMkLst>
        </pc:spChg>
        <pc:spChg chg="add mod">
          <ac:chgData name="Mathias Richerzhagen" userId="061c65f5-fcc4-473b-b050-8f78d278d79d" providerId="ADAL" clId="{87D913A3-6633-425E-819B-2C6E5F644E59}" dt="2024-12-04T09:26:01.841" v="342" actId="1035"/>
          <ac:spMkLst>
            <pc:docMk/>
            <pc:sldMk cId="866974194" sldId="298"/>
            <ac:spMk id="117" creationId="{7F2E2B7D-2DE8-6BE5-E08E-070B4653C1FD}"/>
          </ac:spMkLst>
        </pc:spChg>
        <pc:spChg chg="add mod">
          <ac:chgData name="Mathias Richerzhagen" userId="061c65f5-fcc4-473b-b050-8f78d278d79d" providerId="ADAL" clId="{87D913A3-6633-425E-819B-2C6E5F644E59}" dt="2024-12-04T09:26:01.841" v="342" actId="1035"/>
          <ac:spMkLst>
            <pc:docMk/>
            <pc:sldMk cId="866974194" sldId="298"/>
            <ac:spMk id="118" creationId="{ADD13198-4A40-5837-7900-571C12438D9C}"/>
          </ac:spMkLst>
        </pc:spChg>
        <pc:spChg chg="add mod">
          <ac:chgData name="Mathias Richerzhagen" userId="061c65f5-fcc4-473b-b050-8f78d278d79d" providerId="ADAL" clId="{87D913A3-6633-425E-819B-2C6E5F644E59}" dt="2024-12-04T09:26:01.841" v="342" actId="1035"/>
          <ac:spMkLst>
            <pc:docMk/>
            <pc:sldMk cId="866974194" sldId="298"/>
            <ac:spMk id="119" creationId="{E9CADB9B-26A9-9C24-1057-9EF718C7270A}"/>
          </ac:spMkLst>
        </pc:spChg>
        <pc:spChg chg="add mod">
          <ac:chgData name="Mathias Richerzhagen" userId="061c65f5-fcc4-473b-b050-8f78d278d79d" providerId="ADAL" clId="{87D913A3-6633-425E-819B-2C6E5F644E59}" dt="2024-12-04T09:26:01.841" v="342" actId="1035"/>
          <ac:spMkLst>
            <pc:docMk/>
            <pc:sldMk cId="866974194" sldId="298"/>
            <ac:spMk id="120" creationId="{99A4E07D-43B9-12BD-D83D-EF4D377B3014}"/>
          </ac:spMkLst>
        </pc:spChg>
        <pc:spChg chg="add mod">
          <ac:chgData name="Mathias Richerzhagen" userId="061c65f5-fcc4-473b-b050-8f78d278d79d" providerId="ADAL" clId="{87D913A3-6633-425E-819B-2C6E5F644E59}" dt="2024-12-04T09:26:01.841" v="342" actId="1035"/>
          <ac:spMkLst>
            <pc:docMk/>
            <pc:sldMk cId="866974194" sldId="298"/>
            <ac:spMk id="121" creationId="{F0B610D9-6043-4615-237A-57C1401AAE50}"/>
          </ac:spMkLst>
        </pc:spChg>
        <pc:spChg chg="add mod">
          <ac:chgData name="Mathias Richerzhagen" userId="061c65f5-fcc4-473b-b050-8f78d278d79d" providerId="ADAL" clId="{87D913A3-6633-425E-819B-2C6E5F644E59}" dt="2024-12-04T09:26:01.841" v="342" actId="1035"/>
          <ac:spMkLst>
            <pc:docMk/>
            <pc:sldMk cId="866974194" sldId="298"/>
            <ac:spMk id="122" creationId="{8900CC52-716E-50A3-04AE-744B863D958B}"/>
          </ac:spMkLst>
        </pc:spChg>
        <pc:spChg chg="add mod">
          <ac:chgData name="Mathias Richerzhagen" userId="061c65f5-fcc4-473b-b050-8f78d278d79d" providerId="ADAL" clId="{87D913A3-6633-425E-819B-2C6E5F644E59}" dt="2024-12-04T09:26:01.841" v="342" actId="1035"/>
          <ac:spMkLst>
            <pc:docMk/>
            <pc:sldMk cId="866974194" sldId="298"/>
            <ac:spMk id="123" creationId="{0E4FC4C2-C180-A73F-DAAC-3B14B4987898}"/>
          </ac:spMkLst>
        </pc:spChg>
        <pc:spChg chg="add mod">
          <ac:chgData name="Mathias Richerzhagen" userId="061c65f5-fcc4-473b-b050-8f78d278d79d" providerId="ADAL" clId="{87D913A3-6633-425E-819B-2C6E5F644E59}" dt="2024-12-04T09:26:01.841" v="342" actId="1035"/>
          <ac:spMkLst>
            <pc:docMk/>
            <pc:sldMk cId="866974194" sldId="298"/>
            <ac:spMk id="124" creationId="{CD86AD64-94E1-5D23-60FE-BB7532ACE8AF}"/>
          </ac:spMkLst>
        </pc:spChg>
        <pc:spChg chg="add mod">
          <ac:chgData name="Mathias Richerzhagen" userId="061c65f5-fcc4-473b-b050-8f78d278d79d" providerId="ADAL" clId="{87D913A3-6633-425E-819B-2C6E5F644E59}" dt="2024-12-04T09:26:01.841" v="342" actId="1035"/>
          <ac:spMkLst>
            <pc:docMk/>
            <pc:sldMk cId="866974194" sldId="298"/>
            <ac:spMk id="125" creationId="{F07E0A58-A3C8-F6FE-085D-1B96C25A2BAC}"/>
          </ac:spMkLst>
        </pc:spChg>
        <pc:spChg chg="add mod">
          <ac:chgData name="Mathias Richerzhagen" userId="061c65f5-fcc4-473b-b050-8f78d278d79d" providerId="ADAL" clId="{87D913A3-6633-425E-819B-2C6E5F644E59}" dt="2024-12-04T09:29:57.204" v="596" actId="14100"/>
          <ac:spMkLst>
            <pc:docMk/>
            <pc:sldMk cId="866974194" sldId="298"/>
            <ac:spMk id="126" creationId="{D357F05F-CB12-772F-F569-D39AD0A5C894}"/>
          </ac:spMkLst>
        </pc:spChg>
        <pc:cxnChg chg="add mod">
          <ac:chgData name="Mathias Richerzhagen" userId="061c65f5-fcc4-473b-b050-8f78d278d79d" providerId="ADAL" clId="{87D913A3-6633-425E-819B-2C6E5F644E59}" dt="2024-12-04T09:26:01.841" v="342" actId="1035"/>
          <ac:cxnSpMkLst>
            <pc:docMk/>
            <pc:sldMk cId="866974194" sldId="298"/>
            <ac:cxnSpMk id="28" creationId="{EBE1D12B-9B48-C3DB-0D3F-C69058CE87C4}"/>
          </ac:cxnSpMkLst>
        </pc:cxnChg>
        <pc:cxnChg chg="add mod">
          <ac:chgData name="Mathias Richerzhagen" userId="061c65f5-fcc4-473b-b050-8f78d278d79d" providerId="ADAL" clId="{87D913A3-6633-425E-819B-2C6E5F644E59}" dt="2024-12-04T09:26:01.841" v="342" actId="1035"/>
          <ac:cxnSpMkLst>
            <pc:docMk/>
            <pc:sldMk cId="866974194" sldId="298"/>
            <ac:cxnSpMk id="29" creationId="{07A25EF7-4F6F-7248-2E11-F1C914166FB7}"/>
          </ac:cxnSpMkLst>
        </pc:cxnChg>
        <pc:cxnChg chg="add mod">
          <ac:chgData name="Mathias Richerzhagen" userId="061c65f5-fcc4-473b-b050-8f78d278d79d" providerId="ADAL" clId="{87D913A3-6633-425E-819B-2C6E5F644E59}" dt="2024-12-04T09:26:01.841" v="342" actId="1035"/>
          <ac:cxnSpMkLst>
            <pc:docMk/>
            <pc:sldMk cId="866974194" sldId="298"/>
            <ac:cxnSpMk id="30" creationId="{198B6EE1-9CE3-2E2F-ABF9-EA4BCA61DEA1}"/>
          </ac:cxnSpMkLst>
        </pc:cxnChg>
        <pc:cxnChg chg="add mod">
          <ac:chgData name="Mathias Richerzhagen" userId="061c65f5-fcc4-473b-b050-8f78d278d79d" providerId="ADAL" clId="{87D913A3-6633-425E-819B-2C6E5F644E59}" dt="2024-12-04T09:26:01.841" v="342" actId="1035"/>
          <ac:cxnSpMkLst>
            <pc:docMk/>
            <pc:sldMk cId="866974194" sldId="298"/>
            <ac:cxnSpMk id="31" creationId="{8EA69882-4779-9E5C-FB5D-3A2C06C3530A}"/>
          </ac:cxnSpMkLst>
        </pc:cxnChg>
        <pc:cxnChg chg="add mod">
          <ac:chgData name="Mathias Richerzhagen" userId="061c65f5-fcc4-473b-b050-8f78d278d79d" providerId="ADAL" clId="{87D913A3-6633-425E-819B-2C6E5F644E59}" dt="2024-12-04T09:26:01.841" v="342" actId="1035"/>
          <ac:cxnSpMkLst>
            <pc:docMk/>
            <pc:sldMk cId="866974194" sldId="298"/>
            <ac:cxnSpMk id="33" creationId="{B6A0530A-22BF-A9FB-275A-FCAEE401A3D7}"/>
          </ac:cxnSpMkLst>
        </pc:cxnChg>
        <pc:cxnChg chg="add mod">
          <ac:chgData name="Mathias Richerzhagen" userId="061c65f5-fcc4-473b-b050-8f78d278d79d" providerId="ADAL" clId="{87D913A3-6633-425E-819B-2C6E5F644E59}" dt="2024-12-04T09:26:01.841" v="342" actId="1035"/>
          <ac:cxnSpMkLst>
            <pc:docMk/>
            <pc:sldMk cId="866974194" sldId="298"/>
            <ac:cxnSpMk id="35" creationId="{31195FF7-7C19-3020-D73B-0D675911AFAD}"/>
          </ac:cxnSpMkLst>
        </pc:cxnChg>
        <pc:cxnChg chg="add mod">
          <ac:chgData name="Mathias Richerzhagen" userId="061c65f5-fcc4-473b-b050-8f78d278d79d" providerId="ADAL" clId="{87D913A3-6633-425E-819B-2C6E5F644E59}" dt="2024-12-04T09:26:01.841" v="342" actId="1035"/>
          <ac:cxnSpMkLst>
            <pc:docMk/>
            <pc:sldMk cId="866974194" sldId="298"/>
            <ac:cxnSpMk id="39" creationId="{0743A438-47FB-318F-1F71-1EF5C174389C}"/>
          </ac:cxnSpMkLst>
        </pc:cxnChg>
        <pc:cxnChg chg="add mod">
          <ac:chgData name="Mathias Richerzhagen" userId="061c65f5-fcc4-473b-b050-8f78d278d79d" providerId="ADAL" clId="{87D913A3-6633-425E-819B-2C6E5F644E59}" dt="2024-12-04T09:26:01.841" v="342" actId="1035"/>
          <ac:cxnSpMkLst>
            <pc:docMk/>
            <pc:sldMk cId="866974194" sldId="298"/>
            <ac:cxnSpMk id="41" creationId="{B7CC4E70-24A5-6CCF-CE58-E2F2713F524C}"/>
          </ac:cxnSpMkLst>
        </pc:cxnChg>
        <pc:cxnChg chg="add mod">
          <ac:chgData name="Mathias Richerzhagen" userId="061c65f5-fcc4-473b-b050-8f78d278d79d" providerId="ADAL" clId="{87D913A3-6633-425E-819B-2C6E5F644E59}" dt="2024-12-04T09:26:01.841" v="342" actId="1035"/>
          <ac:cxnSpMkLst>
            <pc:docMk/>
            <pc:sldMk cId="866974194" sldId="298"/>
            <ac:cxnSpMk id="44" creationId="{E28A211E-9211-173A-1730-C67A0D44930C}"/>
          </ac:cxnSpMkLst>
        </pc:cxnChg>
        <pc:cxnChg chg="add mod">
          <ac:chgData name="Mathias Richerzhagen" userId="061c65f5-fcc4-473b-b050-8f78d278d79d" providerId="ADAL" clId="{87D913A3-6633-425E-819B-2C6E5F644E59}" dt="2024-12-04T09:26:01.841" v="342" actId="1035"/>
          <ac:cxnSpMkLst>
            <pc:docMk/>
            <pc:sldMk cId="866974194" sldId="298"/>
            <ac:cxnSpMk id="62" creationId="{271E7680-6575-ECE5-D881-6BBAC79F9CB2}"/>
          </ac:cxnSpMkLst>
        </pc:cxnChg>
        <pc:cxnChg chg="add mod">
          <ac:chgData name="Mathias Richerzhagen" userId="061c65f5-fcc4-473b-b050-8f78d278d79d" providerId="ADAL" clId="{87D913A3-6633-425E-819B-2C6E5F644E59}" dt="2024-12-04T09:26:01.841" v="342" actId="1035"/>
          <ac:cxnSpMkLst>
            <pc:docMk/>
            <pc:sldMk cId="866974194" sldId="298"/>
            <ac:cxnSpMk id="67" creationId="{40511B96-DA18-EFD2-918B-59F674DCC0A5}"/>
          </ac:cxnSpMkLst>
        </pc:cxnChg>
        <pc:cxnChg chg="add mod">
          <ac:chgData name="Mathias Richerzhagen" userId="061c65f5-fcc4-473b-b050-8f78d278d79d" providerId="ADAL" clId="{87D913A3-6633-425E-819B-2C6E5F644E59}" dt="2024-12-04T09:26:01.841" v="342" actId="1035"/>
          <ac:cxnSpMkLst>
            <pc:docMk/>
            <pc:sldMk cId="866974194" sldId="298"/>
            <ac:cxnSpMk id="70" creationId="{B41F3F95-266B-4B58-3B20-91D2DDC861AD}"/>
          </ac:cxnSpMkLst>
        </pc:cxnChg>
        <pc:cxnChg chg="add mod">
          <ac:chgData name="Mathias Richerzhagen" userId="061c65f5-fcc4-473b-b050-8f78d278d79d" providerId="ADAL" clId="{87D913A3-6633-425E-819B-2C6E5F644E59}" dt="2024-12-04T09:24:28.053" v="280"/>
          <ac:cxnSpMkLst>
            <pc:docMk/>
            <pc:sldMk cId="866974194" sldId="298"/>
            <ac:cxnSpMk id="100" creationId="{3D0DC394-E380-FF2F-69CE-6A1413689C75}"/>
          </ac:cxnSpMkLst>
        </pc:cxnChg>
      </pc:sldChg>
      <pc:sldChg chg="addSp modSp mod">
        <pc:chgData name="Mathias Richerzhagen" userId="061c65f5-fcc4-473b-b050-8f78d278d79d" providerId="ADAL" clId="{87D913A3-6633-425E-819B-2C6E5F644E59}" dt="2024-12-04T09:39:12.532" v="896" actId="1076"/>
        <pc:sldMkLst>
          <pc:docMk/>
          <pc:sldMk cId="2396109773" sldId="299"/>
        </pc:sldMkLst>
        <pc:spChg chg="mod">
          <ac:chgData name="Mathias Richerzhagen" userId="061c65f5-fcc4-473b-b050-8f78d278d79d" providerId="ADAL" clId="{87D913A3-6633-425E-819B-2C6E5F644E59}" dt="2024-12-04T09:31:02.272" v="705" actId="20577"/>
          <ac:spMkLst>
            <pc:docMk/>
            <pc:sldMk cId="2396109773" sldId="299"/>
            <ac:spMk id="3" creationId="{7C83E420-0CB6-12C9-626D-667E87BD3AB4}"/>
          </ac:spMkLst>
        </pc:spChg>
        <pc:spChg chg="mod">
          <ac:chgData name="Mathias Richerzhagen" userId="061c65f5-fcc4-473b-b050-8f78d278d79d" providerId="ADAL" clId="{87D913A3-6633-425E-819B-2C6E5F644E59}" dt="2024-12-04T09:32:00.156" v="830" actId="20577"/>
          <ac:spMkLst>
            <pc:docMk/>
            <pc:sldMk cId="2396109773" sldId="299"/>
            <ac:spMk id="5" creationId="{034DB9CC-A76F-04D2-AF28-A1CCAF1A51C3}"/>
          </ac:spMkLst>
        </pc:spChg>
        <pc:spChg chg="add mod">
          <ac:chgData name="Mathias Richerzhagen" userId="061c65f5-fcc4-473b-b050-8f78d278d79d" providerId="ADAL" clId="{87D913A3-6633-425E-819B-2C6E5F644E59}" dt="2024-12-04T09:33:52.635" v="891" actId="14100"/>
          <ac:spMkLst>
            <pc:docMk/>
            <pc:sldMk cId="2396109773" sldId="299"/>
            <ac:spMk id="8" creationId="{AE61BC86-B6A9-6C70-F607-ECCFC6B37326}"/>
          </ac:spMkLst>
        </pc:spChg>
        <pc:picChg chg="add mod">
          <ac:chgData name="Mathias Richerzhagen" userId="061c65f5-fcc4-473b-b050-8f78d278d79d" providerId="ADAL" clId="{87D913A3-6633-425E-819B-2C6E5F644E59}" dt="2024-12-04T09:33:17.250" v="836" actId="1076"/>
          <ac:picMkLst>
            <pc:docMk/>
            <pc:sldMk cId="2396109773" sldId="299"/>
            <ac:picMk id="7" creationId="{64BFBFBF-2E23-E416-FFB9-621A8036B18B}"/>
          </ac:picMkLst>
        </pc:picChg>
        <pc:picChg chg="add mod">
          <ac:chgData name="Mathias Richerzhagen" userId="061c65f5-fcc4-473b-b050-8f78d278d79d" providerId="ADAL" clId="{87D913A3-6633-425E-819B-2C6E5F644E59}" dt="2024-12-04T09:39:12.532" v="896" actId="1076"/>
          <ac:picMkLst>
            <pc:docMk/>
            <pc:sldMk cId="2396109773" sldId="299"/>
            <ac:picMk id="1026" creationId="{E288DA13-41D1-5033-B1B8-E7579FD634A7}"/>
          </ac:picMkLst>
        </pc:picChg>
      </pc:sldChg>
    </pc:docChg>
  </pc:docChgLst>
  <pc:docChgLst>
    <pc:chgData name="Mathias Richerzhagen" userId="061c65f5-fcc4-473b-b050-8f78d278d79d" providerId="ADAL" clId="{530215BA-3670-4750-9ADC-55C673DBE1B5}"/>
    <pc:docChg chg="undo custSel delSld modSld">
      <pc:chgData name="Mathias Richerzhagen" userId="061c65f5-fcc4-473b-b050-8f78d278d79d" providerId="ADAL" clId="{530215BA-3670-4750-9ADC-55C673DBE1B5}" dt="2024-12-03T13:34:23.916" v="252" actId="478"/>
      <pc:docMkLst>
        <pc:docMk/>
      </pc:docMkLst>
      <pc:sldChg chg="modSp mod">
        <pc:chgData name="Mathias Richerzhagen" userId="061c65f5-fcc4-473b-b050-8f78d278d79d" providerId="ADAL" clId="{530215BA-3670-4750-9ADC-55C673DBE1B5}" dt="2024-12-03T13:26:39.197" v="82" actId="115"/>
        <pc:sldMkLst>
          <pc:docMk/>
          <pc:sldMk cId="613112661" sldId="256"/>
        </pc:sldMkLst>
        <pc:spChg chg="mod">
          <ac:chgData name="Mathias Richerzhagen" userId="061c65f5-fcc4-473b-b050-8f78d278d79d" providerId="ADAL" clId="{530215BA-3670-4750-9ADC-55C673DBE1B5}" dt="2024-12-03T13:25:08.409" v="6" actId="255"/>
          <ac:spMkLst>
            <pc:docMk/>
            <pc:sldMk cId="613112661" sldId="256"/>
            <ac:spMk id="4" creationId="{099AAC83-6D97-6BEC-F0E9-9B61E26881F6}"/>
          </ac:spMkLst>
        </pc:spChg>
        <pc:spChg chg="mod">
          <ac:chgData name="Mathias Richerzhagen" userId="061c65f5-fcc4-473b-b050-8f78d278d79d" providerId="ADAL" clId="{530215BA-3670-4750-9ADC-55C673DBE1B5}" dt="2024-12-03T13:26:39.197" v="82" actId="115"/>
          <ac:spMkLst>
            <pc:docMk/>
            <pc:sldMk cId="613112661" sldId="256"/>
            <ac:spMk id="5" creationId="{7C57B5CD-E0DE-E06E-AA7B-0AFFC1873257}"/>
          </ac:spMkLst>
        </pc:spChg>
      </pc:sldChg>
      <pc:sldChg chg="del">
        <pc:chgData name="Mathias Richerzhagen" userId="061c65f5-fcc4-473b-b050-8f78d278d79d" providerId="ADAL" clId="{530215BA-3670-4750-9ADC-55C673DBE1B5}" dt="2024-12-03T13:26:45.937" v="83" actId="2696"/>
        <pc:sldMkLst>
          <pc:docMk/>
          <pc:sldMk cId="3637893502" sldId="257"/>
        </pc:sldMkLst>
      </pc:sldChg>
      <pc:sldChg chg="del">
        <pc:chgData name="Mathias Richerzhagen" userId="061c65f5-fcc4-473b-b050-8f78d278d79d" providerId="ADAL" clId="{530215BA-3670-4750-9ADC-55C673DBE1B5}" dt="2024-12-03T13:26:47.772" v="84" actId="2696"/>
        <pc:sldMkLst>
          <pc:docMk/>
          <pc:sldMk cId="1737023212" sldId="258"/>
        </pc:sldMkLst>
      </pc:sldChg>
      <pc:sldChg chg="del">
        <pc:chgData name="Mathias Richerzhagen" userId="061c65f5-fcc4-473b-b050-8f78d278d79d" providerId="ADAL" clId="{530215BA-3670-4750-9ADC-55C673DBE1B5}" dt="2024-12-03T13:34:12.277" v="250" actId="2696"/>
        <pc:sldMkLst>
          <pc:docMk/>
          <pc:sldMk cId="962672250" sldId="259"/>
        </pc:sldMkLst>
      </pc:sldChg>
      <pc:sldChg chg="del">
        <pc:chgData name="Mathias Richerzhagen" userId="061c65f5-fcc4-473b-b050-8f78d278d79d" providerId="ADAL" clId="{530215BA-3670-4750-9ADC-55C673DBE1B5}" dt="2024-12-03T13:27:40.970" v="159" actId="2696"/>
        <pc:sldMkLst>
          <pc:docMk/>
          <pc:sldMk cId="2429017503" sldId="261"/>
        </pc:sldMkLst>
      </pc:sldChg>
      <pc:sldChg chg="del">
        <pc:chgData name="Mathias Richerzhagen" userId="061c65f5-fcc4-473b-b050-8f78d278d79d" providerId="ADAL" clId="{530215BA-3670-4750-9ADC-55C673DBE1B5}" dt="2024-12-03T13:33:51.437" v="244" actId="2696"/>
        <pc:sldMkLst>
          <pc:docMk/>
          <pc:sldMk cId="1364104697" sldId="262"/>
        </pc:sldMkLst>
      </pc:sldChg>
      <pc:sldChg chg="del">
        <pc:chgData name="Mathias Richerzhagen" userId="061c65f5-fcc4-473b-b050-8f78d278d79d" providerId="ADAL" clId="{530215BA-3670-4750-9ADC-55C673DBE1B5}" dt="2024-12-03T13:27:47.380" v="162" actId="2696"/>
        <pc:sldMkLst>
          <pc:docMk/>
          <pc:sldMk cId="3577944788" sldId="267"/>
        </pc:sldMkLst>
      </pc:sldChg>
      <pc:sldChg chg="del">
        <pc:chgData name="Mathias Richerzhagen" userId="061c65f5-fcc4-473b-b050-8f78d278d79d" providerId="ADAL" clId="{530215BA-3670-4750-9ADC-55C673DBE1B5}" dt="2024-12-03T13:27:45.227" v="161" actId="2696"/>
        <pc:sldMkLst>
          <pc:docMk/>
          <pc:sldMk cId="3985652253" sldId="269"/>
        </pc:sldMkLst>
      </pc:sldChg>
      <pc:sldChg chg="del">
        <pc:chgData name="Mathias Richerzhagen" userId="061c65f5-fcc4-473b-b050-8f78d278d79d" providerId="ADAL" clId="{530215BA-3670-4750-9ADC-55C673DBE1B5}" dt="2024-12-03T13:27:37.165" v="157" actId="2696"/>
        <pc:sldMkLst>
          <pc:docMk/>
          <pc:sldMk cId="1251889158" sldId="270"/>
        </pc:sldMkLst>
      </pc:sldChg>
      <pc:sldChg chg="del">
        <pc:chgData name="Mathias Richerzhagen" userId="061c65f5-fcc4-473b-b050-8f78d278d79d" providerId="ADAL" clId="{530215BA-3670-4750-9ADC-55C673DBE1B5}" dt="2024-12-03T13:27:39.144" v="158" actId="2696"/>
        <pc:sldMkLst>
          <pc:docMk/>
          <pc:sldMk cId="3787106892" sldId="271"/>
        </pc:sldMkLst>
      </pc:sldChg>
      <pc:sldChg chg="del">
        <pc:chgData name="Mathias Richerzhagen" userId="061c65f5-fcc4-473b-b050-8f78d278d79d" providerId="ADAL" clId="{530215BA-3670-4750-9ADC-55C673DBE1B5}" dt="2024-12-03T13:27:43.042" v="160" actId="2696"/>
        <pc:sldMkLst>
          <pc:docMk/>
          <pc:sldMk cId="285477028" sldId="275"/>
        </pc:sldMkLst>
      </pc:sldChg>
      <pc:sldChg chg="del">
        <pc:chgData name="Mathias Richerzhagen" userId="061c65f5-fcc4-473b-b050-8f78d278d79d" providerId="ADAL" clId="{530215BA-3670-4750-9ADC-55C673DBE1B5}" dt="2024-12-03T13:27:35.083" v="156" actId="2696"/>
        <pc:sldMkLst>
          <pc:docMk/>
          <pc:sldMk cId="620338082" sldId="276"/>
        </pc:sldMkLst>
      </pc:sldChg>
      <pc:sldChg chg="del">
        <pc:chgData name="Mathias Richerzhagen" userId="061c65f5-fcc4-473b-b050-8f78d278d79d" providerId="ADAL" clId="{530215BA-3670-4750-9ADC-55C673DBE1B5}" dt="2024-12-03T13:27:33.180" v="155" actId="2696"/>
        <pc:sldMkLst>
          <pc:docMk/>
          <pc:sldMk cId="2623365521" sldId="277"/>
        </pc:sldMkLst>
      </pc:sldChg>
      <pc:sldChg chg="del">
        <pc:chgData name="Mathias Richerzhagen" userId="061c65f5-fcc4-473b-b050-8f78d278d79d" providerId="ADAL" clId="{530215BA-3670-4750-9ADC-55C673DBE1B5}" dt="2024-12-03T13:27:31.362" v="154" actId="2696"/>
        <pc:sldMkLst>
          <pc:docMk/>
          <pc:sldMk cId="766469494" sldId="278"/>
        </pc:sldMkLst>
      </pc:sldChg>
      <pc:sldChg chg="addSp delSp modSp mod chgLayout">
        <pc:chgData name="Mathias Richerzhagen" userId="061c65f5-fcc4-473b-b050-8f78d278d79d" providerId="ADAL" clId="{530215BA-3670-4750-9ADC-55C673DBE1B5}" dt="2024-12-03T13:33:44.952" v="243" actId="1076"/>
        <pc:sldMkLst>
          <pc:docMk/>
          <pc:sldMk cId="2990555464" sldId="280"/>
        </pc:sldMkLst>
        <pc:spChg chg="add del mod">
          <ac:chgData name="Mathias Richerzhagen" userId="061c65f5-fcc4-473b-b050-8f78d278d79d" providerId="ADAL" clId="{530215BA-3670-4750-9ADC-55C673DBE1B5}" dt="2024-12-03T13:29:08.981" v="186"/>
          <ac:spMkLst>
            <pc:docMk/>
            <pc:sldMk cId="2990555464" sldId="280"/>
            <ac:spMk id="3" creationId="{09D61D6F-E605-11ED-E92C-D5F4C6AD7B9B}"/>
          </ac:spMkLst>
        </pc:spChg>
        <pc:spChg chg="mod ord">
          <ac:chgData name="Mathias Richerzhagen" userId="061c65f5-fcc4-473b-b050-8f78d278d79d" providerId="ADAL" clId="{530215BA-3670-4750-9ADC-55C673DBE1B5}" dt="2024-12-03T13:29:54.775" v="195" actId="6264"/>
          <ac:spMkLst>
            <pc:docMk/>
            <pc:sldMk cId="2990555464" sldId="280"/>
            <ac:spMk id="6" creationId="{CA8BEA20-CD76-B159-AB5C-E2089487D383}"/>
          </ac:spMkLst>
        </pc:spChg>
        <pc:spChg chg="add del mod">
          <ac:chgData name="Mathias Richerzhagen" userId="061c65f5-fcc4-473b-b050-8f78d278d79d" providerId="ADAL" clId="{530215BA-3670-4750-9ADC-55C673DBE1B5}" dt="2024-12-03T13:29:25.562" v="193" actId="478"/>
          <ac:spMkLst>
            <pc:docMk/>
            <pc:sldMk cId="2990555464" sldId="280"/>
            <ac:spMk id="8" creationId="{702DBED8-2501-8AF6-2371-775463ED8DD4}"/>
          </ac:spMkLst>
        </pc:spChg>
        <pc:spChg chg="add del mod">
          <ac:chgData name="Mathias Richerzhagen" userId="061c65f5-fcc4-473b-b050-8f78d278d79d" providerId="ADAL" clId="{530215BA-3670-4750-9ADC-55C673DBE1B5}" dt="2024-12-03T13:29:54.775" v="195" actId="6264"/>
          <ac:spMkLst>
            <pc:docMk/>
            <pc:sldMk cId="2990555464" sldId="280"/>
            <ac:spMk id="10" creationId="{F6E9DCB8-6B53-3490-30C1-CE47B31645A8}"/>
          </ac:spMkLst>
        </pc:spChg>
        <pc:spChg chg="add del mod">
          <ac:chgData name="Mathias Richerzhagen" userId="061c65f5-fcc4-473b-b050-8f78d278d79d" providerId="ADAL" clId="{530215BA-3670-4750-9ADC-55C673DBE1B5}" dt="2024-12-03T13:29:54.775" v="195" actId="6264"/>
          <ac:spMkLst>
            <pc:docMk/>
            <pc:sldMk cId="2990555464" sldId="280"/>
            <ac:spMk id="11" creationId="{E1FE7B70-3EB9-0BA0-BA28-DC9DE8461D9A}"/>
          </ac:spMkLst>
        </pc:spChg>
        <pc:spChg chg="add del mod">
          <ac:chgData name="Mathias Richerzhagen" userId="061c65f5-fcc4-473b-b050-8f78d278d79d" providerId="ADAL" clId="{530215BA-3670-4750-9ADC-55C673DBE1B5}" dt="2024-12-03T13:29:54.775" v="195" actId="6264"/>
          <ac:spMkLst>
            <pc:docMk/>
            <pc:sldMk cId="2990555464" sldId="280"/>
            <ac:spMk id="12" creationId="{1EE4E7D4-F032-BE98-E56E-E20928E3E4D8}"/>
          </ac:spMkLst>
        </pc:spChg>
        <pc:spChg chg="add del mod">
          <ac:chgData name="Mathias Richerzhagen" userId="061c65f5-fcc4-473b-b050-8f78d278d79d" providerId="ADAL" clId="{530215BA-3670-4750-9ADC-55C673DBE1B5}" dt="2024-12-03T13:29:54.775" v="195" actId="6264"/>
          <ac:spMkLst>
            <pc:docMk/>
            <pc:sldMk cId="2990555464" sldId="280"/>
            <ac:spMk id="13" creationId="{BB05BEAF-7140-9306-8A55-0F69C52D28A8}"/>
          </ac:spMkLst>
        </pc:spChg>
        <pc:spChg chg="add del mod ord">
          <ac:chgData name="Mathias Richerzhagen" userId="061c65f5-fcc4-473b-b050-8f78d278d79d" providerId="ADAL" clId="{530215BA-3670-4750-9ADC-55C673DBE1B5}" dt="2024-12-03T13:30:00.286" v="198"/>
          <ac:spMkLst>
            <pc:docMk/>
            <pc:sldMk cId="2990555464" sldId="280"/>
            <ac:spMk id="14" creationId="{DBEF9F48-F665-E660-F026-8D4CC0297092}"/>
          </ac:spMkLst>
        </pc:spChg>
        <pc:spChg chg="mod ord">
          <ac:chgData name="Mathias Richerzhagen" userId="061c65f5-fcc4-473b-b050-8f78d278d79d" providerId="ADAL" clId="{530215BA-3670-4750-9ADC-55C673DBE1B5}" dt="2024-12-03T13:29:54.775" v="195" actId="6264"/>
          <ac:spMkLst>
            <pc:docMk/>
            <pc:sldMk cId="2990555464" sldId="280"/>
            <ac:spMk id="15" creationId="{9FE81F53-BF98-411C-0960-A59084804865}"/>
          </ac:spMkLst>
        </pc:spChg>
        <pc:spChg chg="del mod">
          <ac:chgData name="Mathias Richerzhagen" userId="061c65f5-fcc4-473b-b050-8f78d278d79d" providerId="ADAL" clId="{530215BA-3670-4750-9ADC-55C673DBE1B5}" dt="2024-12-03T13:29:15.449" v="190" actId="478"/>
          <ac:spMkLst>
            <pc:docMk/>
            <pc:sldMk cId="2990555464" sldId="280"/>
            <ac:spMk id="16" creationId="{91D2EF02-941E-DAC6-CE86-73ECAE6BAFE8}"/>
          </ac:spMkLst>
        </pc:spChg>
        <pc:spChg chg="add mod ord">
          <ac:chgData name="Mathias Richerzhagen" userId="061c65f5-fcc4-473b-b050-8f78d278d79d" providerId="ADAL" clId="{530215BA-3670-4750-9ADC-55C673DBE1B5}" dt="2024-12-03T13:29:54.775" v="195" actId="6264"/>
          <ac:spMkLst>
            <pc:docMk/>
            <pc:sldMk cId="2990555464" sldId="280"/>
            <ac:spMk id="17" creationId="{C676CDE2-8511-DD7E-60BE-8A3ACF9CBC7D}"/>
          </ac:spMkLst>
        </pc:spChg>
        <pc:spChg chg="add mod ord">
          <ac:chgData name="Mathias Richerzhagen" userId="061c65f5-fcc4-473b-b050-8f78d278d79d" providerId="ADAL" clId="{530215BA-3670-4750-9ADC-55C673DBE1B5}" dt="2024-12-03T13:29:54.775" v="195" actId="6264"/>
          <ac:spMkLst>
            <pc:docMk/>
            <pc:sldMk cId="2990555464" sldId="280"/>
            <ac:spMk id="19" creationId="{0DFE4745-9222-4AE1-4472-56F13D2090B4}"/>
          </ac:spMkLst>
        </pc:spChg>
        <pc:spChg chg="add del">
          <ac:chgData name="Mathias Richerzhagen" userId="061c65f5-fcc4-473b-b050-8f78d278d79d" providerId="ADAL" clId="{530215BA-3670-4750-9ADC-55C673DBE1B5}" dt="2024-12-03T13:29:58.746" v="197" actId="22"/>
          <ac:spMkLst>
            <pc:docMk/>
            <pc:sldMk cId="2990555464" sldId="280"/>
            <ac:spMk id="21" creationId="{D66A5036-A608-9D0D-3BAA-CB04606E47C9}"/>
          </ac:spMkLst>
        </pc:spChg>
        <pc:spChg chg="add del mod">
          <ac:chgData name="Mathias Richerzhagen" userId="061c65f5-fcc4-473b-b050-8f78d278d79d" providerId="ADAL" clId="{530215BA-3670-4750-9ADC-55C673DBE1B5}" dt="2024-12-03T13:30:51.995" v="202"/>
          <ac:spMkLst>
            <pc:docMk/>
            <pc:sldMk cId="2990555464" sldId="280"/>
            <ac:spMk id="25" creationId="{C8D86986-9D6F-728F-CE63-D51216685688}"/>
          </ac:spMkLst>
        </pc:spChg>
        <pc:spChg chg="del">
          <ac:chgData name="Mathias Richerzhagen" userId="061c65f5-fcc4-473b-b050-8f78d278d79d" providerId="ADAL" clId="{530215BA-3670-4750-9ADC-55C673DBE1B5}" dt="2024-12-03T13:29:54.775" v="195" actId="6264"/>
          <ac:spMkLst>
            <pc:docMk/>
            <pc:sldMk cId="2990555464" sldId="280"/>
            <ac:spMk id="26" creationId="{292DAC8C-1A89-5DA5-F6B0-40006B1004AE}"/>
          </ac:spMkLst>
        </pc:spChg>
        <pc:spChg chg="mod ord">
          <ac:chgData name="Mathias Richerzhagen" userId="061c65f5-fcc4-473b-b050-8f78d278d79d" providerId="ADAL" clId="{530215BA-3670-4750-9ADC-55C673DBE1B5}" dt="2024-12-03T13:29:54.775" v="195" actId="6264"/>
          <ac:spMkLst>
            <pc:docMk/>
            <pc:sldMk cId="2990555464" sldId="280"/>
            <ac:spMk id="27" creationId="{6D31FE87-4742-0F6A-DA1E-2D202422D764}"/>
          </ac:spMkLst>
        </pc:spChg>
        <pc:spChg chg="add del mod">
          <ac:chgData name="Mathias Richerzhagen" userId="061c65f5-fcc4-473b-b050-8f78d278d79d" providerId="ADAL" clId="{530215BA-3670-4750-9ADC-55C673DBE1B5}" dt="2024-12-03T13:31:22.964" v="207"/>
          <ac:spMkLst>
            <pc:docMk/>
            <pc:sldMk cId="2990555464" sldId="280"/>
            <ac:spMk id="31" creationId="{68A58FDC-C554-6A45-E6CB-D4DABB658D06}"/>
          </ac:spMkLst>
        </pc:spChg>
        <pc:spChg chg="add del mod">
          <ac:chgData name="Mathias Richerzhagen" userId="061c65f5-fcc4-473b-b050-8f78d278d79d" providerId="ADAL" clId="{530215BA-3670-4750-9ADC-55C673DBE1B5}" dt="2024-12-03T13:33:09.651" v="229"/>
          <ac:spMkLst>
            <pc:docMk/>
            <pc:sldMk cId="2990555464" sldId="280"/>
            <ac:spMk id="37" creationId="{F99E57A6-2136-0100-207B-127FDC969104}"/>
          </ac:spMkLst>
        </pc:spChg>
        <pc:spChg chg="add mod">
          <ac:chgData name="Mathias Richerzhagen" userId="061c65f5-fcc4-473b-b050-8f78d278d79d" providerId="ADAL" clId="{530215BA-3670-4750-9ADC-55C673DBE1B5}" dt="2024-12-03T13:33:44.952" v="243" actId="1076"/>
          <ac:spMkLst>
            <pc:docMk/>
            <pc:sldMk cId="2990555464" sldId="280"/>
            <ac:spMk id="40" creationId="{8D40CC97-92D2-BF0A-1157-E674C867BD61}"/>
          </ac:spMkLst>
        </pc:spChg>
        <pc:picChg chg="add del mod ord">
          <ac:chgData name="Mathias Richerzhagen" userId="061c65f5-fcc4-473b-b050-8f78d278d79d" providerId="ADAL" clId="{530215BA-3670-4750-9ADC-55C673DBE1B5}" dt="2024-12-03T13:29:32.926" v="194" actId="478"/>
          <ac:picMkLst>
            <pc:docMk/>
            <pc:sldMk cId="2990555464" sldId="280"/>
            <ac:picMk id="5" creationId="{F8F84C9F-A42D-3C9B-CD1B-E43774F3F9AE}"/>
          </ac:picMkLst>
        </pc:picChg>
        <pc:picChg chg="del">
          <ac:chgData name="Mathias Richerzhagen" userId="061c65f5-fcc4-473b-b050-8f78d278d79d" providerId="ADAL" clId="{530215BA-3670-4750-9ADC-55C673DBE1B5}" dt="2024-12-03T13:29:06.832" v="185" actId="478"/>
          <ac:picMkLst>
            <pc:docMk/>
            <pc:sldMk cId="2990555464" sldId="280"/>
            <ac:picMk id="18" creationId="{BBB5DBED-811C-7F94-1879-44973E98E376}"/>
          </ac:picMkLst>
        </pc:picChg>
        <pc:picChg chg="add del mod">
          <ac:chgData name="Mathias Richerzhagen" userId="061c65f5-fcc4-473b-b050-8f78d278d79d" providerId="ADAL" clId="{530215BA-3670-4750-9ADC-55C673DBE1B5}" dt="2024-12-03T13:30:10.908" v="201" actId="478"/>
          <ac:picMkLst>
            <pc:docMk/>
            <pc:sldMk cId="2990555464" sldId="280"/>
            <ac:picMk id="23" creationId="{A89DF872-425D-3572-D20B-63C648FDDB80}"/>
          </ac:picMkLst>
        </pc:picChg>
        <pc:picChg chg="add del mod ord">
          <ac:chgData name="Mathias Richerzhagen" userId="061c65f5-fcc4-473b-b050-8f78d278d79d" providerId="ADAL" clId="{530215BA-3670-4750-9ADC-55C673DBE1B5}" dt="2024-12-03T13:30:57.800" v="206" actId="478"/>
          <ac:picMkLst>
            <pc:docMk/>
            <pc:sldMk cId="2990555464" sldId="280"/>
            <ac:picMk id="29" creationId="{0F0B52B6-D155-89BF-709F-2B9189E5603A}"/>
          </ac:picMkLst>
        </pc:picChg>
        <pc:picChg chg="add del mod ord">
          <ac:chgData name="Mathias Richerzhagen" userId="061c65f5-fcc4-473b-b050-8f78d278d79d" providerId="ADAL" clId="{530215BA-3670-4750-9ADC-55C673DBE1B5}" dt="2024-12-03T13:32:45.709" v="228" actId="478"/>
          <ac:picMkLst>
            <pc:docMk/>
            <pc:sldMk cId="2990555464" sldId="280"/>
            <ac:picMk id="33" creationId="{29FB93A8-7848-2628-00B8-1DDA328B7F9C}"/>
          </ac:picMkLst>
        </pc:picChg>
        <pc:picChg chg="add mod modCrop">
          <ac:chgData name="Mathias Richerzhagen" userId="061c65f5-fcc4-473b-b050-8f78d278d79d" providerId="ADAL" clId="{530215BA-3670-4750-9ADC-55C673DBE1B5}" dt="2024-12-03T13:32:43.487" v="227"/>
          <ac:picMkLst>
            <pc:docMk/>
            <pc:sldMk cId="2990555464" sldId="280"/>
            <ac:picMk id="35" creationId="{58E9FD78-D455-1EAC-8A27-1C1919BC42DE}"/>
          </ac:picMkLst>
        </pc:picChg>
        <pc:picChg chg="add mod ord">
          <ac:chgData name="Mathias Richerzhagen" userId="061c65f5-fcc4-473b-b050-8f78d278d79d" providerId="ADAL" clId="{530215BA-3670-4750-9ADC-55C673DBE1B5}" dt="2024-12-03T13:33:12.349" v="232" actId="167"/>
          <ac:picMkLst>
            <pc:docMk/>
            <pc:sldMk cId="2990555464" sldId="280"/>
            <ac:picMk id="39" creationId="{EEFEE4BC-356B-F6DF-9F61-A7718BEFC661}"/>
          </ac:picMkLst>
        </pc:picChg>
      </pc:sldChg>
      <pc:sldChg chg="del">
        <pc:chgData name="Mathias Richerzhagen" userId="061c65f5-fcc4-473b-b050-8f78d278d79d" providerId="ADAL" clId="{530215BA-3670-4750-9ADC-55C673DBE1B5}" dt="2024-12-03T13:27:29.219" v="153" actId="2696"/>
        <pc:sldMkLst>
          <pc:docMk/>
          <pc:sldMk cId="2208935754" sldId="282"/>
        </pc:sldMkLst>
      </pc:sldChg>
      <pc:sldChg chg="del">
        <pc:chgData name="Mathias Richerzhagen" userId="061c65f5-fcc4-473b-b050-8f78d278d79d" providerId="ADAL" clId="{530215BA-3670-4750-9ADC-55C673DBE1B5}" dt="2024-12-03T13:27:26.702" v="152" actId="2696"/>
        <pc:sldMkLst>
          <pc:docMk/>
          <pc:sldMk cId="3542142673" sldId="284"/>
        </pc:sldMkLst>
      </pc:sldChg>
      <pc:sldChg chg="modSp mod">
        <pc:chgData name="Mathias Richerzhagen" userId="061c65f5-fcc4-473b-b050-8f78d278d79d" providerId="ADAL" clId="{530215BA-3670-4750-9ADC-55C673DBE1B5}" dt="2024-12-03T13:27:21.655" v="151" actId="20577"/>
        <pc:sldMkLst>
          <pc:docMk/>
          <pc:sldMk cId="3383609205" sldId="285"/>
        </pc:sldMkLst>
        <pc:spChg chg="mod">
          <ac:chgData name="Mathias Richerzhagen" userId="061c65f5-fcc4-473b-b050-8f78d278d79d" providerId="ADAL" clId="{530215BA-3670-4750-9ADC-55C673DBE1B5}" dt="2024-12-03T13:27:21.655" v="151" actId="20577"/>
          <ac:spMkLst>
            <pc:docMk/>
            <pc:sldMk cId="3383609205" sldId="285"/>
            <ac:spMk id="5" creationId="{037EA70F-5E7A-BC43-B7EC-85091096E661}"/>
          </ac:spMkLst>
        </pc:spChg>
      </pc:sldChg>
      <pc:sldChg chg="delSp mod">
        <pc:chgData name="Mathias Richerzhagen" userId="061c65f5-fcc4-473b-b050-8f78d278d79d" providerId="ADAL" clId="{530215BA-3670-4750-9ADC-55C673DBE1B5}" dt="2024-12-03T13:34:23.916" v="252" actId="478"/>
        <pc:sldMkLst>
          <pc:docMk/>
          <pc:sldMk cId="2217712137" sldId="288"/>
        </pc:sldMkLst>
        <pc:cxnChg chg="del">
          <ac:chgData name="Mathias Richerzhagen" userId="061c65f5-fcc4-473b-b050-8f78d278d79d" providerId="ADAL" clId="{530215BA-3670-4750-9ADC-55C673DBE1B5}" dt="2024-12-03T13:34:23.916" v="252" actId="478"/>
          <ac:cxnSpMkLst>
            <pc:docMk/>
            <pc:sldMk cId="2217712137" sldId="288"/>
            <ac:cxnSpMk id="10" creationId="{CC497D89-C34E-71E8-3521-74D8FECDDC5C}"/>
          </ac:cxnSpMkLst>
        </pc:cxnChg>
      </pc:sldChg>
      <pc:sldChg chg="del">
        <pc:chgData name="Mathias Richerzhagen" userId="061c65f5-fcc4-473b-b050-8f78d278d79d" providerId="ADAL" clId="{530215BA-3670-4750-9ADC-55C673DBE1B5}" dt="2024-12-03T13:34:03.673" v="246" actId="2696"/>
        <pc:sldMkLst>
          <pc:docMk/>
          <pc:sldMk cId="2380220532" sldId="289"/>
        </pc:sldMkLst>
      </pc:sldChg>
      <pc:sldChg chg="del">
        <pc:chgData name="Mathias Richerzhagen" userId="061c65f5-fcc4-473b-b050-8f78d278d79d" providerId="ADAL" clId="{530215BA-3670-4750-9ADC-55C673DBE1B5}" dt="2024-12-03T13:33:54.588" v="245" actId="2696"/>
        <pc:sldMkLst>
          <pc:docMk/>
          <pc:sldMk cId="3981625332" sldId="290"/>
        </pc:sldMkLst>
      </pc:sldChg>
      <pc:sldChg chg="del">
        <pc:chgData name="Mathias Richerzhagen" userId="061c65f5-fcc4-473b-b050-8f78d278d79d" providerId="ADAL" clId="{530215BA-3670-4750-9ADC-55C673DBE1B5}" dt="2024-12-03T13:34:05.596" v="247" actId="2696"/>
        <pc:sldMkLst>
          <pc:docMk/>
          <pc:sldMk cId="2280897064" sldId="291"/>
        </pc:sldMkLst>
      </pc:sldChg>
      <pc:sldChg chg="del">
        <pc:chgData name="Mathias Richerzhagen" userId="061c65f5-fcc4-473b-b050-8f78d278d79d" providerId="ADAL" clId="{530215BA-3670-4750-9ADC-55C673DBE1B5}" dt="2024-12-03T13:34:08.009" v="248" actId="2696"/>
        <pc:sldMkLst>
          <pc:docMk/>
          <pc:sldMk cId="3285695810" sldId="292"/>
        </pc:sldMkLst>
      </pc:sldChg>
      <pc:sldChg chg="del">
        <pc:chgData name="Mathias Richerzhagen" userId="061c65f5-fcc4-473b-b050-8f78d278d79d" providerId="ADAL" clId="{530215BA-3670-4750-9ADC-55C673DBE1B5}" dt="2024-12-03T13:34:09.836" v="249" actId="2696"/>
        <pc:sldMkLst>
          <pc:docMk/>
          <pc:sldMk cId="1514370659" sldId="293"/>
        </pc:sldMkLst>
      </pc:sldChg>
      <pc:sldChg chg="del">
        <pc:chgData name="Mathias Richerzhagen" userId="061c65f5-fcc4-473b-b050-8f78d278d79d" providerId="ADAL" clId="{530215BA-3670-4750-9ADC-55C673DBE1B5}" dt="2024-12-03T13:34:17.517" v="251" actId="2696"/>
        <pc:sldMkLst>
          <pc:docMk/>
          <pc:sldMk cId="1887357024" sldId="294"/>
        </pc:sldMkLst>
      </pc:sldChg>
    </pc:docChg>
  </pc:docChgLst>
  <pc:docChgLst>
    <pc:chgData name="Mathias Richerzhagen" userId="061c65f5-fcc4-473b-b050-8f78d278d79d" providerId="ADAL" clId="{A02ECD6D-171A-45FD-B177-ACD69219BC1E}"/>
    <pc:docChg chg="undo custSel addSld modSld sldOrd">
      <pc:chgData name="Mathias Richerzhagen" userId="061c65f5-fcc4-473b-b050-8f78d278d79d" providerId="ADAL" clId="{A02ECD6D-171A-45FD-B177-ACD69219BC1E}" dt="2024-12-04T06:54:14.980" v="253" actId="1076"/>
      <pc:docMkLst>
        <pc:docMk/>
      </pc:docMkLst>
      <pc:sldChg chg="ord">
        <pc:chgData name="Mathias Richerzhagen" userId="061c65f5-fcc4-473b-b050-8f78d278d79d" providerId="ADAL" clId="{A02ECD6D-171A-45FD-B177-ACD69219BC1E}" dt="2024-12-04T06:37:25.354" v="22"/>
        <pc:sldMkLst>
          <pc:docMk/>
          <pc:sldMk cId="2217712137" sldId="288"/>
        </pc:sldMkLst>
      </pc:sldChg>
      <pc:sldChg chg="modSp mod">
        <pc:chgData name="Mathias Richerzhagen" userId="061c65f5-fcc4-473b-b050-8f78d278d79d" providerId="ADAL" clId="{A02ECD6D-171A-45FD-B177-ACD69219BC1E}" dt="2024-12-04T06:37:13.644" v="20" actId="20577"/>
        <pc:sldMkLst>
          <pc:docMk/>
          <pc:sldMk cId="3760869060" sldId="292"/>
        </pc:sldMkLst>
        <pc:spChg chg="mod">
          <ac:chgData name="Mathias Richerzhagen" userId="061c65f5-fcc4-473b-b050-8f78d278d79d" providerId="ADAL" clId="{A02ECD6D-171A-45FD-B177-ACD69219BC1E}" dt="2024-12-04T06:37:13.644" v="20" actId="20577"/>
          <ac:spMkLst>
            <pc:docMk/>
            <pc:sldMk cId="3760869060" sldId="292"/>
            <ac:spMk id="2" creationId="{94159FCD-162A-14F4-2206-6FA37010D013}"/>
          </ac:spMkLst>
        </pc:spChg>
      </pc:sldChg>
      <pc:sldChg chg="addSp modSp mod">
        <pc:chgData name="Mathias Richerzhagen" userId="061c65f5-fcc4-473b-b050-8f78d278d79d" providerId="ADAL" clId="{A02ECD6D-171A-45FD-B177-ACD69219BC1E}" dt="2024-12-04T06:37:02.325" v="18" actId="167"/>
        <pc:sldMkLst>
          <pc:docMk/>
          <pc:sldMk cId="2324478167" sldId="293"/>
        </pc:sldMkLst>
        <pc:spChg chg="add mod">
          <ac:chgData name="Mathias Richerzhagen" userId="061c65f5-fcc4-473b-b050-8f78d278d79d" providerId="ADAL" clId="{A02ECD6D-171A-45FD-B177-ACD69219BC1E}" dt="2024-12-04T06:36:50.572" v="14" actId="20577"/>
          <ac:spMkLst>
            <pc:docMk/>
            <pc:sldMk cId="2324478167" sldId="293"/>
            <ac:spMk id="3" creationId="{AF196F6F-65E2-F249-1FAC-10C091BD2BBE}"/>
          </ac:spMkLst>
        </pc:spChg>
        <pc:spChg chg="mod">
          <ac:chgData name="Mathias Richerzhagen" userId="061c65f5-fcc4-473b-b050-8f78d278d79d" providerId="ADAL" clId="{A02ECD6D-171A-45FD-B177-ACD69219BC1E}" dt="2024-12-04T06:36:31.909" v="4" actId="1076"/>
          <ac:spMkLst>
            <pc:docMk/>
            <pc:sldMk cId="2324478167" sldId="293"/>
            <ac:spMk id="9" creationId="{27573239-8094-5926-D9FA-EC57ECA0AF90}"/>
          </ac:spMkLst>
        </pc:spChg>
        <pc:spChg chg="mod">
          <ac:chgData name="Mathias Richerzhagen" userId="061c65f5-fcc4-473b-b050-8f78d278d79d" providerId="ADAL" clId="{A02ECD6D-171A-45FD-B177-ACD69219BC1E}" dt="2024-12-04T06:36:31.909" v="4" actId="1076"/>
          <ac:spMkLst>
            <pc:docMk/>
            <pc:sldMk cId="2324478167" sldId="293"/>
            <ac:spMk id="11" creationId="{BE60AE51-04C4-73BC-6511-60A124DF1AA6}"/>
          </ac:spMkLst>
        </pc:spChg>
        <pc:spChg chg="mod">
          <ac:chgData name="Mathias Richerzhagen" userId="061c65f5-fcc4-473b-b050-8f78d278d79d" providerId="ADAL" clId="{A02ECD6D-171A-45FD-B177-ACD69219BC1E}" dt="2024-12-04T06:36:36.397" v="5" actId="1076"/>
          <ac:spMkLst>
            <pc:docMk/>
            <pc:sldMk cId="2324478167" sldId="293"/>
            <ac:spMk id="89" creationId="{4DEE5645-6FB4-448D-1AB3-EA07295B6AE7}"/>
          </ac:spMkLst>
        </pc:spChg>
        <pc:grpChg chg="mod">
          <ac:chgData name="Mathias Richerzhagen" userId="061c65f5-fcc4-473b-b050-8f78d278d79d" providerId="ADAL" clId="{A02ECD6D-171A-45FD-B177-ACD69219BC1E}" dt="2024-12-04T06:36:31.909" v="4" actId="1076"/>
          <ac:grpSpMkLst>
            <pc:docMk/>
            <pc:sldMk cId="2324478167" sldId="293"/>
            <ac:grpSpMk id="14" creationId="{2CAF32C4-392B-0B6E-FC64-8B8FAFFE6169}"/>
          </ac:grpSpMkLst>
        </pc:grpChg>
        <pc:picChg chg="mod">
          <ac:chgData name="Mathias Richerzhagen" userId="061c65f5-fcc4-473b-b050-8f78d278d79d" providerId="ADAL" clId="{A02ECD6D-171A-45FD-B177-ACD69219BC1E}" dt="2024-12-04T06:36:31.909" v="4" actId="1076"/>
          <ac:picMkLst>
            <pc:docMk/>
            <pc:sldMk cId="2324478167" sldId="293"/>
            <ac:picMk id="4098" creationId="{5141CF52-0842-0135-A0DD-56C504ACFC8D}"/>
          </ac:picMkLst>
        </pc:picChg>
        <pc:cxnChg chg="add mod ord">
          <ac:chgData name="Mathias Richerzhagen" userId="061c65f5-fcc4-473b-b050-8f78d278d79d" providerId="ADAL" clId="{A02ECD6D-171A-45FD-B177-ACD69219BC1E}" dt="2024-12-04T06:37:02.325" v="18" actId="167"/>
          <ac:cxnSpMkLst>
            <pc:docMk/>
            <pc:sldMk cId="2324478167" sldId="293"/>
            <ac:cxnSpMk id="12" creationId="{099C5B52-2FCB-AD9C-9EE6-12EC9F76CFAA}"/>
          </ac:cxnSpMkLst>
        </pc:cxnChg>
        <pc:cxnChg chg="mod">
          <ac:chgData name="Mathias Richerzhagen" userId="061c65f5-fcc4-473b-b050-8f78d278d79d" providerId="ADAL" clId="{A02ECD6D-171A-45FD-B177-ACD69219BC1E}" dt="2024-12-04T06:36:41.461" v="7" actId="14100"/>
          <ac:cxnSpMkLst>
            <pc:docMk/>
            <pc:sldMk cId="2324478167" sldId="293"/>
            <ac:cxnSpMk id="99" creationId="{E3013DCA-2544-5DCB-FCD5-D9470B07A74F}"/>
          </ac:cxnSpMkLst>
        </pc:cxnChg>
      </pc:sldChg>
      <pc:sldChg chg="addSp delSp modSp mod">
        <pc:chgData name="Mathias Richerzhagen" userId="061c65f5-fcc4-473b-b050-8f78d278d79d" providerId="ADAL" clId="{A02ECD6D-171A-45FD-B177-ACD69219BC1E}" dt="2024-12-04T06:54:14.980" v="253" actId="1076"/>
        <pc:sldMkLst>
          <pc:docMk/>
          <pc:sldMk cId="1372010720" sldId="294"/>
        </pc:sldMkLst>
        <pc:spChg chg="mod">
          <ac:chgData name="Mathias Richerzhagen" userId="061c65f5-fcc4-473b-b050-8f78d278d79d" providerId="ADAL" clId="{A02ECD6D-171A-45FD-B177-ACD69219BC1E}" dt="2024-12-04T06:51:46.930" v="204" actId="1076"/>
          <ac:spMkLst>
            <pc:docMk/>
            <pc:sldMk cId="1372010720" sldId="294"/>
            <ac:spMk id="2" creationId="{94159FCD-162A-14F4-2206-6FA37010D013}"/>
          </ac:spMkLst>
        </pc:spChg>
        <pc:spChg chg="del mod">
          <ac:chgData name="Mathias Richerzhagen" userId="061c65f5-fcc4-473b-b050-8f78d278d79d" providerId="ADAL" clId="{A02ECD6D-171A-45FD-B177-ACD69219BC1E}" dt="2024-12-04T06:43:31.890" v="37" actId="478"/>
          <ac:spMkLst>
            <pc:docMk/>
            <pc:sldMk cId="1372010720" sldId="294"/>
            <ac:spMk id="3" creationId="{7C83E420-0CB6-12C9-626D-667E87BD3AB4}"/>
          </ac:spMkLst>
        </pc:spChg>
        <pc:spChg chg="del">
          <ac:chgData name="Mathias Richerzhagen" userId="061c65f5-fcc4-473b-b050-8f78d278d79d" providerId="ADAL" clId="{A02ECD6D-171A-45FD-B177-ACD69219BC1E}" dt="2024-12-04T06:43:31.102" v="36" actId="478"/>
          <ac:spMkLst>
            <pc:docMk/>
            <pc:sldMk cId="1372010720" sldId="294"/>
            <ac:spMk id="5" creationId="{034DB9CC-A76F-04D2-AF28-A1CCAF1A51C3}"/>
          </ac:spMkLst>
        </pc:spChg>
        <pc:spChg chg="add del mod">
          <ac:chgData name="Mathias Richerzhagen" userId="061c65f5-fcc4-473b-b050-8f78d278d79d" providerId="ADAL" clId="{A02ECD6D-171A-45FD-B177-ACD69219BC1E}" dt="2024-12-04T06:43:32.559" v="38" actId="478"/>
          <ac:spMkLst>
            <pc:docMk/>
            <pc:sldMk cId="1372010720" sldId="294"/>
            <ac:spMk id="8" creationId="{4779CF3B-28C6-BBBC-3E9B-2B753F807BAF}"/>
          </ac:spMkLst>
        </pc:spChg>
        <pc:spChg chg="add del mod">
          <ac:chgData name="Mathias Richerzhagen" userId="061c65f5-fcc4-473b-b050-8f78d278d79d" providerId="ADAL" clId="{A02ECD6D-171A-45FD-B177-ACD69219BC1E}" dt="2024-12-04T06:43:33.070" v="39" actId="478"/>
          <ac:spMkLst>
            <pc:docMk/>
            <pc:sldMk cId="1372010720" sldId="294"/>
            <ac:spMk id="10" creationId="{5A314296-936B-F93A-D9F7-3A34EDB9BDBD}"/>
          </ac:spMkLst>
        </pc:spChg>
        <pc:spChg chg="add mod">
          <ac:chgData name="Mathias Richerzhagen" userId="061c65f5-fcc4-473b-b050-8f78d278d79d" providerId="ADAL" clId="{A02ECD6D-171A-45FD-B177-ACD69219BC1E}" dt="2024-12-04T06:50:18.046" v="182" actId="20577"/>
          <ac:spMkLst>
            <pc:docMk/>
            <pc:sldMk cId="1372010720" sldId="294"/>
            <ac:spMk id="11" creationId="{0F75A131-9512-EB2B-8762-97B61B277F31}"/>
          </ac:spMkLst>
        </pc:spChg>
        <pc:spChg chg="add mod ord">
          <ac:chgData name="Mathias Richerzhagen" userId="061c65f5-fcc4-473b-b050-8f78d278d79d" providerId="ADAL" clId="{A02ECD6D-171A-45FD-B177-ACD69219BC1E}" dt="2024-12-04T06:51:04.405" v="191" actId="20577"/>
          <ac:spMkLst>
            <pc:docMk/>
            <pc:sldMk cId="1372010720" sldId="294"/>
            <ac:spMk id="12" creationId="{58812689-A397-FC3D-684B-67AA46EC17AD}"/>
          </ac:spMkLst>
        </pc:spChg>
        <pc:spChg chg="add mod">
          <ac:chgData name="Mathias Richerzhagen" userId="061c65f5-fcc4-473b-b050-8f78d278d79d" providerId="ADAL" clId="{A02ECD6D-171A-45FD-B177-ACD69219BC1E}" dt="2024-12-04T06:51:21.936" v="197" actId="20577"/>
          <ac:spMkLst>
            <pc:docMk/>
            <pc:sldMk cId="1372010720" sldId="294"/>
            <ac:spMk id="13" creationId="{5D1EEC25-881A-CD4E-EF03-A33EBAB343C3}"/>
          </ac:spMkLst>
        </pc:spChg>
        <pc:spChg chg="add mod ord">
          <ac:chgData name="Mathias Richerzhagen" userId="061c65f5-fcc4-473b-b050-8f78d278d79d" providerId="ADAL" clId="{A02ECD6D-171A-45FD-B177-ACD69219BC1E}" dt="2024-12-04T06:51:30.943" v="201" actId="20577"/>
          <ac:spMkLst>
            <pc:docMk/>
            <pc:sldMk cId="1372010720" sldId="294"/>
            <ac:spMk id="14" creationId="{9409F443-A2D2-9BB7-C87A-DA29BAC3D762}"/>
          </ac:spMkLst>
        </pc:spChg>
        <pc:spChg chg="add mod">
          <ac:chgData name="Mathias Richerzhagen" userId="061c65f5-fcc4-473b-b050-8f78d278d79d" providerId="ADAL" clId="{A02ECD6D-171A-45FD-B177-ACD69219BC1E}" dt="2024-12-04T06:51:51.174" v="205" actId="1076"/>
          <ac:spMkLst>
            <pc:docMk/>
            <pc:sldMk cId="1372010720" sldId="294"/>
            <ac:spMk id="15" creationId="{104382E8-4F76-E3E1-6CFD-3DA5DC973FC7}"/>
          </ac:spMkLst>
        </pc:spChg>
        <pc:spChg chg="add mod">
          <ac:chgData name="Mathias Richerzhagen" userId="061c65f5-fcc4-473b-b050-8f78d278d79d" providerId="ADAL" clId="{A02ECD6D-171A-45FD-B177-ACD69219BC1E}" dt="2024-12-04T06:49:17.796" v="99" actId="1076"/>
          <ac:spMkLst>
            <pc:docMk/>
            <pc:sldMk cId="1372010720" sldId="294"/>
            <ac:spMk id="16" creationId="{0C54EC29-9F8E-9B0E-BF1F-7D7C7A98F643}"/>
          </ac:spMkLst>
        </pc:spChg>
        <pc:spChg chg="add mod">
          <ac:chgData name="Mathias Richerzhagen" userId="061c65f5-fcc4-473b-b050-8f78d278d79d" providerId="ADAL" clId="{A02ECD6D-171A-45FD-B177-ACD69219BC1E}" dt="2024-12-04T06:49:31.852" v="105" actId="1076"/>
          <ac:spMkLst>
            <pc:docMk/>
            <pc:sldMk cId="1372010720" sldId="294"/>
            <ac:spMk id="17" creationId="{C34644B1-B3CD-9CFD-D7FB-95BDBE71EF40}"/>
          </ac:spMkLst>
        </pc:spChg>
        <pc:spChg chg="add mod">
          <ac:chgData name="Mathias Richerzhagen" userId="061c65f5-fcc4-473b-b050-8f78d278d79d" providerId="ADAL" clId="{A02ECD6D-171A-45FD-B177-ACD69219BC1E}" dt="2024-12-04T06:51:53.549" v="206" actId="1076"/>
          <ac:spMkLst>
            <pc:docMk/>
            <pc:sldMk cId="1372010720" sldId="294"/>
            <ac:spMk id="18" creationId="{791D2E16-08AA-69A7-0A91-7CA3DCA123C0}"/>
          </ac:spMkLst>
        </pc:spChg>
        <pc:spChg chg="add mod">
          <ac:chgData name="Mathias Richerzhagen" userId="061c65f5-fcc4-473b-b050-8f78d278d79d" providerId="ADAL" clId="{A02ECD6D-171A-45FD-B177-ACD69219BC1E}" dt="2024-12-04T06:50:12.821" v="180" actId="1076"/>
          <ac:spMkLst>
            <pc:docMk/>
            <pc:sldMk cId="1372010720" sldId="294"/>
            <ac:spMk id="19" creationId="{C0A3FB6B-1422-5030-D2A3-C93BD611A8DF}"/>
          </ac:spMkLst>
        </pc:spChg>
        <pc:spChg chg="add mod">
          <ac:chgData name="Mathias Richerzhagen" userId="061c65f5-fcc4-473b-b050-8f78d278d79d" providerId="ADAL" clId="{A02ECD6D-171A-45FD-B177-ACD69219BC1E}" dt="2024-12-04T06:51:15.602" v="196" actId="207"/>
          <ac:spMkLst>
            <pc:docMk/>
            <pc:sldMk cId="1372010720" sldId="294"/>
            <ac:spMk id="20" creationId="{F339E856-4FAF-187E-9C15-91CD16D41ACC}"/>
          </ac:spMkLst>
        </pc:spChg>
        <pc:spChg chg="add del mod">
          <ac:chgData name="Mathias Richerzhagen" userId="061c65f5-fcc4-473b-b050-8f78d278d79d" providerId="ADAL" clId="{A02ECD6D-171A-45FD-B177-ACD69219BC1E}" dt="2024-12-04T06:51:27.762" v="199" actId="478"/>
          <ac:spMkLst>
            <pc:docMk/>
            <pc:sldMk cId="1372010720" sldId="294"/>
            <ac:spMk id="21" creationId="{9F332803-F3C1-7BEC-EFA9-327D47457BCF}"/>
          </ac:spMkLst>
        </pc:spChg>
        <pc:spChg chg="add mod">
          <ac:chgData name="Mathias Richerzhagen" userId="061c65f5-fcc4-473b-b050-8f78d278d79d" providerId="ADAL" clId="{A02ECD6D-171A-45FD-B177-ACD69219BC1E}" dt="2024-12-04T06:52:27.700" v="219" actId="1076"/>
          <ac:spMkLst>
            <pc:docMk/>
            <pc:sldMk cId="1372010720" sldId="294"/>
            <ac:spMk id="27" creationId="{50C06E96-A362-0F28-5C3B-BE36A55F3D50}"/>
          </ac:spMkLst>
        </pc:spChg>
        <pc:spChg chg="add mod">
          <ac:chgData name="Mathias Richerzhagen" userId="061c65f5-fcc4-473b-b050-8f78d278d79d" providerId="ADAL" clId="{A02ECD6D-171A-45FD-B177-ACD69219BC1E}" dt="2024-12-04T06:54:14.980" v="253" actId="1076"/>
          <ac:spMkLst>
            <pc:docMk/>
            <pc:sldMk cId="1372010720" sldId="294"/>
            <ac:spMk id="31" creationId="{5C3B9216-9CEF-4368-0823-CF3FFBB653AF}"/>
          </ac:spMkLst>
        </pc:spChg>
        <pc:spChg chg="add mod">
          <ac:chgData name="Mathias Richerzhagen" userId="061c65f5-fcc4-473b-b050-8f78d278d79d" providerId="ADAL" clId="{A02ECD6D-171A-45FD-B177-ACD69219BC1E}" dt="2024-12-04T06:52:58.221" v="232" actId="1076"/>
          <ac:spMkLst>
            <pc:docMk/>
            <pc:sldMk cId="1372010720" sldId="294"/>
            <ac:spMk id="34" creationId="{73247A62-3D79-1CD4-775E-7D968EF800D7}"/>
          </ac:spMkLst>
        </pc:spChg>
        <pc:spChg chg="add mod">
          <ac:chgData name="Mathias Richerzhagen" userId="061c65f5-fcc4-473b-b050-8f78d278d79d" providerId="ADAL" clId="{A02ECD6D-171A-45FD-B177-ACD69219BC1E}" dt="2024-12-04T06:53:08.238" v="236" actId="1076"/>
          <ac:spMkLst>
            <pc:docMk/>
            <pc:sldMk cId="1372010720" sldId="294"/>
            <ac:spMk id="36" creationId="{4BE2C548-45F4-61D9-D867-206DA16DDA2F}"/>
          </ac:spMkLst>
        </pc:spChg>
        <pc:spChg chg="add mod">
          <ac:chgData name="Mathias Richerzhagen" userId="061c65f5-fcc4-473b-b050-8f78d278d79d" providerId="ADAL" clId="{A02ECD6D-171A-45FD-B177-ACD69219BC1E}" dt="2024-12-04T06:53:24.031" v="249" actId="20577"/>
          <ac:spMkLst>
            <pc:docMk/>
            <pc:sldMk cId="1372010720" sldId="294"/>
            <ac:spMk id="38" creationId="{2E74A72E-C7B4-FB8E-7B0E-FED3791CA088}"/>
          </ac:spMkLst>
        </pc:spChg>
        <pc:cxnChg chg="add del mod">
          <ac:chgData name="Mathias Richerzhagen" userId="061c65f5-fcc4-473b-b050-8f78d278d79d" providerId="ADAL" clId="{A02ECD6D-171A-45FD-B177-ACD69219BC1E}" dt="2024-12-04T06:52:03.279" v="208" actId="11529"/>
          <ac:cxnSpMkLst>
            <pc:docMk/>
            <pc:sldMk cId="1372010720" sldId="294"/>
            <ac:cxnSpMk id="23" creationId="{3CEE4A7F-15DB-1284-8102-3FC5F7E9A775}"/>
          </ac:cxnSpMkLst>
        </pc:cxnChg>
        <pc:cxnChg chg="add mod">
          <ac:chgData name="Mathias Richerzhagen" userId="061c65f5-fcc4-473b-b050-8f78d278d79d" providerId="ADAL" clId="{A02ECD6D-171A-45FD-B177-ACD69219BC1E}" dt="2024-12-04T06:52:11.933" v="210" actId="14100"/>
          <ac:cxnSpMkLst>
            <pc:docMk/>
            <pc:sldMk cId="1372010720" sldId="294"/>
            <ac:cxnSpMk id="25" creationId="{28735015-4384-0998-CE55-1A20AAC0D57A}"/>
          </ac:cxnSpMkLst>
        </pc:cxnChg>
        <pc:cxnChg chg="add del mod">
          <ac:chgData name="Mathias Richerzhagen" userId="061c65f5-fcc4-473b-b050-8f78d278d79d" providerId="ADAL" clId="{A02ECD6D-171A-45FD-B177-ACD69219BC1E}" dt="2024-12-04T06:54:07.487" v="250" actId="478"/>
          <ac:cxnSpMkLst>
            <pc:docMk/>
            <pc:sldMk cId="1372010720" sldId="294"/>
            <ac:cxnSpMk id="28" creationId="{8FA30117-D467-7386-2085-8428A9BCA1F2}"/>
          </ac:cxnSpMkLst>
        </pc:cxnChg>
        <pc:cxnChg chg="add mod">
          <ac:chgData name="Mathias Richerzhagen" userId="061c65f5-fcc4-473b-b050-8f78d278d79d" providerId="ADAL" clId="{A02ECD6D-171A-45FD-B177-ACD69219BC1E}" dt="2024-12-04T06:52:52.805" v="230" actId="14100"/>
          <ac:cxnSpMkLst>
            <pc:docMk/>
            <pc:sldMk cId="1372010720" sldId="294"/>
            <ac:cxnSpMk id="32" creationId="{B7E0E204-E7F3-F0F3-05BB-579E22C5EAB4}"/>
          </ac:cxnSpMkLst>
        </pc:cxnChg>
        <pc:cxnChg chg="add mod">
          <ac:chgData name="Mathias Richerzhagen" userId="061c65f5-fcc4-473b-b050-8f78d278d79d" providerId="ADAL" clId="{A02ECD6D-171A-45FD-B177-ACD69219BC1E}" dt="2024-12-04T06:53:03.541" v="234" actId="1076"/>
          <ac:cxnSpMkLst>
            <pc:docMk/>
            <pc:sldMk cId="1372010720" sldId="294"/>
            <ac:cxnSpMk id="35" creationId="{A5C20A81-6435-4B4C-CE92-E17A4A0BD164}"/>
          </ac:cxnSpMkLst>
        </pc:cxnChg>
        <pc:cxnChg chg="add mod">
          <ac:chgData name="Mathias Richerzhagen" userId="061c65f5-fcc4-473b-b050-8f78d278d79d" providerId="ADAL" clId="{A02ECD6D-171A-45FD-B177-ACD69219BC1E}" dt="2024-12-04T06:53:16.045" v="238" actId="1076"/>
          <ac:cxnSpMkLst>
            <pc:docMk/>
            <pc:sldMk cId="1372010720" sldId="294"/>
            <ac:cxnSpMk id="37" creationId="{D8E8C480-CF07-4C29-8A50-AD2D76D32089}"/>
          </ac:cxnSpMkLst>
        </pc:cxnChg>
        <pc:cxnChg chg="add mod">
          <ac:chgData name="Mathias Richerzhagen" userId="061c65f5-fcc4-473b-b050-8f78d278d79d" providerId="ADAL" clId="{A02ECD6D-171A-45FD-B177-ACD69219BC1E}" dt="2024-12-04T06:54:12.141" v="252" actId="1076"/>
          <ac:cxnSpMkLst>
            <pc:docMk/>
            <pc:sldMk cId="1372010720" sldId="294"/>
            <ac:cxnSpMk id="39" creationId="{EF7E627C-AD99-58A5-FEAD-88C22BC4F19E}"/>
          </ac:cxnSpMkLst>
        </pc:cxnChg>
      </pc:sldChg>
      <pc:sldChg chg="add">
        <pc:chgData name="Mathias Richerzhagen" userId="061c65f5-fcc4-473b-b050-8f78d278d79d" providerId="ADAL" clId="{A02ECD6D-171A-45FD-B177-ACD69219BC1E}" dt="2024-12-04T06:39:21.189" v="23" actId="2890"/>
        <pc:sldMkLst>
          <pc:docMk/>
          <pc:sldMk cId="2396109773" sldId="299"/>
        </pc:sldMkLst>
      </pc:sldChg>
    </pc:docChg>
  </pc:docChgLst>
  <pc:docChgLst>
    <pc:chgData name="Mathias Richerzhagen" userId="061c65f5-fcc4-473b-b050-8f78d278d79d" providerId="ADAL" clId="{9396F404-D0A8-4E05-A341-8D3AA088B137}"/>
    <pc:docChg chg="custSel modSld">
      <pc:chgData name="Mathias Richerzhagen" userId="061c65f5-fcc4-473b-b050-8f78d278d79d" providerId="ADAL" clId="{9396F404-D0A8-4E05-A341-8D3AA088B137}" dt="2024-12-06T08:17:23.604" v="6" actId="1076"/>
      <pc:docMkLst>
        <pc:docMk/>
      </pc:docMkLst>
      <pc:sldChg chg="addSp delSp modSp mod">
        <pc:chgData name="Mathias Richerzhagen" userId="061c65f5-fcc4-473b-b050-8f78d278d79d" providerId="ADAL" clId="{9396F404-D0A8-4E05-A341-8D3AA088B137}" dt="2024-12-06T08:17:23.604" v="6" actId="1076"/>
        <pc:sldMkLst>
          <pc:docMk/>
          <pc:sldMk cId="199995880" sldId="297"/>
        </pc:sldMkLst>
        <pc:grpChg chg="del">
          <ac:chgData name="Mathias Richerzhagen" userId="061c65f5-fcc4-473b-b050-8f78d278d79d" providerId="ADAL" clId="{9396F404-D0A8-4E05-A341-8D3AA088B137}" dt="2024-12-06T08:17:17.456" v="3" actId="478"/>
          <ac:grpSpMkLst>
            <pc:docMk/>
            <pc:sldMk cId="199995880" sldId="297"/>
            <ac:grpSpMk id="11" creationId="{97B6C9BD-17A6-90C3-0BFF-9392AE5415DD}"/>
          </ac:grpSpMkLst>
        </pc:grpChg>
        <pc:grpChg chg="del">
          <ac:chgData name="Mathias Richerzhagen" userId="061c65f5-fcc4-473b-b050-8f78d278d79d" providerId="ADAL" clId="{9396F404-D0A8-4E05-A341-8D3AA088B137}" dt="2024-12-06T08:17:17.456" v="3" actId="478"/>
          <ac:grpSpMkLst>
            <pc:docMk/>
            <pc:sldMk cId="199995880" sldId="297"/>
            <ac:grpSpMk id="14" creationId="{53E60225-E1C0-6F69-5E8A-CF02798A100D}"/>
          </ac:grpSpMkLst>
        </pc:grpChg>
        <pc:picChg chg="add mod">
          <ac:chgData name="Mathias Richerzhagen" userId="061c65f5-fcc4-473b-b050-8f78d278d79d" providerId="ADAL" clId="{9396F404-D0A8-4E05-A341-8D3AA088B137}" dt="2024-12-06T08:17:23.604" v="6" actId="1076"/>
          <ac:picMkLst>
            <pc:docMk/>
            <pc:sldMk cId="199995880" sldId="297"/>
            <ac:picMk id="1026" creationId="{C39C80B3-9651-93F1-950C-CD6EED2B3767}"/>
          </ac:picMkLst>
        </pc:picChg>
      </pc:sldChg>
    </pc:docChg>
  </pc:docChgLst>
  <pc:docChgLst>
    <pc:chgData name="Mathias Richerzhagen" userId="061c65f5-fcc4-473b-b050-8f78d278d79d" providerId="ADAL" clId="{A842A9AE-2086-46D4-A66A-B6B8C4333E4F}"/>
    <pc:docChg chg="undo custSel addSld delSld modSld sldOrd">
      <pc:chgData name="Mathias Richerzhagen" userId="061c65f5-fcc4-473b-b050-8f78d278d79d" providerId="ADAL" clId="{A842A9AE-2086-46D4-A66A-B6B8C4333E4F}" dt="2024-12-03T15:23:00.772" v="1104" actId="20577"/>
      <pc:docMkLst>
        <pc:docMk/>
      </pc:docMkLst>
      <pc:sldChg chg="modSp mod">
        <pc:chgData name="Mathias Richerzhagen" userId="061c65f5-fcc4-473b-b050-8f78d278d79d" providerId="ADAL" clId="{A842A9AE-2086-46D4-A66A-B6B8C4333E4F}" dt="2024-12-03T14:54:47.018" v="294" actId="20577"/>
        <pc:sldMkLst>
          <pc:docMk/>
          <pc:sldMk cId="2990555464" sldId="280"/>
        </pc:sldMkLst>
        <pc:spChg chg="mod">
          <ac:chgData name="Mathias Richerzhagen" userId="061c65f5-fcc4-473b-b050-8f78d278d79d" providerId="ADAL" clId="{A842A9AE-2086-46D4-A66A-B6B8C4333E4F}" dt="2024-12-03T14:54:47.018" v="294" actId="20577"/>
          <ac:spMkLst>
            <pc:docMk/>
            <pc:sldMk cId="2990555464" sldId="280"/>
            <ac:spMk id="40" creationId="{8D40CC97-92D2-BF0A-1157-E674C867BD61}"/>
          </ac:spMkLst>
        </pc:spChg>
      </pc:sldChg>
      <pc:sldChg chg="addSp delSp modSp add del mod">
        <pc:chgData name="Mathias Richerzhagen" userId="061c65f5-fcc4-473b-b050-8f78d278d79d" providerId="ADAL" clId="{A842A9AE-2086-46D4-A66A-B6B8C4333E4F}" dt="2024-12-03T15:19:31.918" v="944" actId="20577"/>
        <pc:sldMkLst>
          <pc:docMk/>
          <pc:sldMk cId="2217712137" sldId="288"/>
        </pc:sldMkLst>
        <pc:spChg chg="mod">
          <ac:chgData name="Mathias Richerzhagen" userId="061c65f5-fcc4-473b-b050-8f78d278d79d" providerId="ADAL" clId="{A842A9AE-2086-46D4-A66A-B6B8C4333E4F}" dt="2024-12-03T15:19:31.918" v="944" actId="20577"/>
          <ac:spMkLst>
            <pc:docMk/>
            <pc:sldMk cId="2217712137" sldId="288"/>
            <ac:spMk id="2" creationId="{94159FCD-162A-14F4-2206-6FA37010D013}"/>
          </ac:spMkLst>
        </pc:spChg>
        <pc:spChg chg="del">
          <ac:chgData name="Mathias Richerzhagen" userId="061c65f5-fcc4-473b-b050-8f78d278d79d" providerId="ADAL" clId="{A842A9AE-2086-46D4-A66A-B6B8C4333E4F}" dt="2024-12-03T15:19:20.413" v="919" actId="478"/>
          <ac:spMkLst>
            <pc:docMk/>
            <pc:sldMk cId="2217712137" sldId="288"/>
            <ac:spMk id="3" creationId="{7C83E420-0CB6-12C9-626D-667E87BD3AB4}"/>
          </ac:spMkLst>
        </pc:spChg>
        <pc:spChg chg="del">
          <ac:chgData name="Mathias Richerzhagen" userId="061c65f5-fcc4-473b-b050-8f78d278d79d" providerId="ADAL" clId="{A842A9AE-2086-46D4-A66A-B6B8C4333E4F}" dt="2024-12-03T15:19:21.097" v="920" actId="478"/>
          <ac:spMkLst>
            <pc:docMk/>
            <pc:sldMk cId="2217712137" sldId="288"/>
            <ac:spMk id="5" creationId="{034DB9CC-A76F-04D2-AF28-A1CCAF1A51C3}"/>
          </ac:spMkLst>
        </pc:spChg>
        <pc:spChg chg="add del mod">
          <ac:chgData name="Mathias Richerzhagen" userId="061c65f5-fcc4-473b-b050-8f78d278d79d" providerId="ADAL" clId="{A842A9AE-2086-46D4-A66A-B6B8C4333E4F}" dt="2024-12-03T15:19:22.809" v="922" actId="478"/>
          <ac:spMkLst>
            <pc:docMk/>
            <pc:sldMk cId="2217712137" sldId="288"/>
            <ac:spMk id="8" creationId="{8F00D27A-0125-9DD6-B936-80BE1808E398}"/>
          </ac:spMkLst>
        </pc:spChg>
        <pc:spChg chg="add del mod">
          <ac:chgData name="Mathias Richerzhagen" userId="061c65f5-fcc4-473b-b050-8f78d278d79d" providerId="ADAL" clId="{A842A9AE-2086-46D4-A66A-B6B8C4333E4F}" dt="2024-12-03T15:19:21.799" v="921" actId="478"/>
          <ac:spMkLst>
            <pc:docMk/>
            <pc:sldMk cId="2217712137" sldId="288"/>
            <ac:spMk id="10" creationId="{4B727A5B-4E11-44ED-95FC-56C9DACEAE56}"/>
          </ac:spMkLst>
        </pc:spChg>
        <pc:spChg chg="add mod">
          <ac:chgData name="Mathias Richerzhagen" userId="061c65f5-fcc4-473b-b050-8f78d278d79d" providerId="ADAL" clId="{A842A9AE-2086-46D4-A66A-B6B8C4333E4F}" dt="2024-12-03T15:19:26.814" v="924" actId="1076"/>
          <ac:spMkLst>
            <pc:docMk/>
            <pc:sldMk cId="2217712137" sldId="288"/>
            <ac:spMk id="11" creationId="{463AD474-DBE9-9B24-5326-EF48D7DD0EAB}"/>
          </ac:spMkLst>
        </pc:spChg>
        <pc:picChg chg="add mod">
          <ac:chgData name="Mathias Richerzhagen" userId="061c65f5-fcc4-473b-b050-8f78d278d79d" providerId="ADAL" clId="{A842A9AE-2086-46D4-A66A-B6B8C4333E4F}" dt="2024-12-03T15:19:26.814" v="924" actId="1076"/>
          <ac:picMkLst>
            <pc:docMk/>
            <pc:sldMk cId="2217712137" sldId="288"/>
            <ac:picMk id="12" creationId="{E3E017E9-8D94-2F07-B64F-7BC641D2B0A0}"/>
          </ac:picMkLst>
        </pc:picChg>
      </pc:sldChg>
      <pc:sldChg chg="addSp delSp modSp add del mod ord">
        <pc:chgData name="Mathias Richerzhagen" userId="061c65f5-fcc4-473b-b050-8f78d278d79d" providerId="ADAL" clId="{A842A9AE-2086-46D4-A66A-B6B8C4333E4F}" dt="2024-12-03T14:45:34.727" v="12" actId="2696"/>
        <pc:sldMkLst>
          <pc:docMk/>
          <pc:sldMk cId="1923196222" sldId="289"/>
        </pc:sldMkLst>
        <pc:spChg chg="add del mod">
          <ac:chgData name="Mathias Richerzhagen" userId="061c65f5-fcc4-473b-b050-8f78d278d79d" providerId="ADAL" clId="{A842A9AE-2086-46D4-A66A-B6B8C4333E4F}" dt="2024-12-03T14:45:28.824" v="7" actId="478"/>
          <ac:spMkLst>
            <pc:docMk/>
            <pc:sldMk cId="1923196222" sldId="289"/>
            <ac:spMk id="3" creationId="{6657AEDF-1927-588B-1D32-5FDFC3C1D5EB}"/>
          </ac:spMkLst>
        </pc:spChg>
        <pc:picChg chg="add del">
          <ac:chgData name="Mathias Richerzhagen" userId="061c65f5-fcc4-473b-b050-8f78d278d79d" providerId="ADAL" clId="{A842A9AE-2086-46D4-A66A-B6B8C4333E4F}" dt="2024-12-03T14:45:28.824" v="7" actId="478"/>
          <ac:picMkLst>
            <pc:docMk/>
            <pc:sldMk cId="1923196222" sldId="289"/>
            <ac:picMk id="39" creationId="{EEFEE4BC-356B-F6DF-9F61-A7718BEFC661}"/>
          </ac:picMkLst>
        </pc:picChg>
      </pc:sldChg>
      <pc:sldChg chg="addSp delSp modSp add mod ord">
        <pc:chgData name="Mathias Richerzhagen" userId="061c65f5-fcc4-473b-b050-8f78d278d79d" providerId="ADAL" clId="{A842A9AE-2086-46D4-A66A-B6B8C4333E4F}" dt="2024-12-03T14:54:40.864" v="280"/>
        <pc:sldMkLst>
          <pc:docMk/>
          <pc:sldMk cId="1734193522" sldId="290"/>
        </pc:sldMkLst>
        <pc:spChg chg="mod">
          <ac:chgData name="Mathias Richerzhagen" userId="061c65f5-fcc4-473b-b050-8f78d278d79d" providerId="ADAL" clId="{A842A9AE-2086-46D4-A66A-B6B8C4333E4F}" dt="2024-12-03T14:46:47.545" v="57" actId="207"/>
          <ac:spMkLst>
            <pc:docMk/>
            <pc:sldMk cId="1734193522" sldId="290"/>
            <ac:spMk id="2" creationId="{94159FCD-162A-14F4-2206-6FA37010D013}"/>
          </ac:spMkLst>
        </pc:spChg>
        <pc:spChg chg="del">
          <ac:chgData name="Mathias Richerzhagen" userId="061c65f5-fcc4-473b-b050-8f78d278d79d" providerId="ADAL" clId="{A842A9AE-2086-46D4-A66A-B6B8C4333E4F}" dt="2024-12-03T14:45:39.864" v="13" actId="478"/>
          <ac:spMkLst>
            <pc:docMk/>
            <pc:sldMk cId="1734193522" sldId="290"/>
            <ac:spMk id="3" creationId="{7C83E420-0CB6-12C9-626D-667E87BD3AB4}"/>
          </ac:spMkLst>
        </pc:spChg>
        <pc:spChg chg="del">
          <ac:chgData name="Mathias Richerzhagen" userId="061c65f5-fcc4-473b-b050-8f78d278d79d" providerId="ADAL" clId="{A842A9AE-2086-46D4-A66A-B6B8C4333E4F}" dt="2024-12-03T14:51:15.830" v="140" actId="478"/>
          <ac:spMkLst>
            <pc:docMk/>
            <pc:sldMk cId="1734193522" sldId="290"/>
            <ac:spMk id="4" creationId="{B2192BD0-5241-2075-560C-695034247A53}"/>
          </ac:spMkLst>
        </pc:spChg>
        <pc:spChg chg="del">
          <ac:chgData name="Mathias Richerzhagen" userId="061c65f5-fcc4-473b-b050-8f78d278d79d" providerId="ADAL" clId="{A842A9AE-2086-46D4-A66A-B6B8C4333E4F}" dt="2024-12-03T14:45:41.036" v="14" actId="478"/>
          <ac:spMkLst>
            <pc:docMk/>
            <pc:sldMk cId="1734193522" sldId="290"/>
            <ac:spMk id="5" creationId="{034DB9CC-A76F-04D2-AF28-A1CCAF1A51C3}"/>
          </ac:spMkLst>
        </pc:spChg>
        <pc:spChg chg="del mod">
          <ac:chgData name="Mathias Richerzhagen" userId="061c65f5-fcc4-473b-b050-8f78d278d79d" providerId="ADAL" clId="{A842A9AE-2086-46D4-A66A-B6B8C4333E4F}" dt="2024-12-03T14:51:19.942" v="142" actId="478"/>
          <ac:spMkLst>
            <pc:docMk/>
            <pc:sldMk cId="1734193522" sldId="290"/>
            <ac:spMk id="6" creationId="{66463F8D-BD74-F879-888A-1C977688672E}"/>
          </ac:spMkLst>
        </pc:spChg>
        <pc:spChg chg="add del mod">
          <ac:chgData name="Mathias Richerzhagen" userId="061c65f5-fcc4-473b-b050-8f78d278d79d" providerId="ADAL" clId="{A842A9AE-2086-46D4-A66A-B6B8C4333E4F}" dt="2024-12-03T14:45:41.942" v="15" actId="478"/>
          <ac:spMkLst>
            <pc:docMk/>
            <pc:sldMk cId="1734193522" sldId="290"/>
            <ac:spMk id="8" creationId="{80A81E35-D21B-EB17-A75E-F6B17167E131}"/>
          </ac:spMkLst>
        </pc:spChg>
        <pc:spChg chg="add del mod">
          <ac:chgData name="Mathias Richerzhagen" userId="061c65f5-fcc4-473b-b050-8f78d278d79d" providerId="ADAL" clId="{A842A9AE-2086-46D4-A66A-B6B8C4333E4F}" dt="2024-12-03T14:45:42.519" v="16" actId="478"/>
          <ac:spMkLst>
            <pc:docMk/>
            <pc:sldMk cId="1734193522" sldId="290"/>
            <ac:spMk id="10" creationId="{B0BA09AF-B445-F1CD-ADCE-F98ECDCCCFAC}"/>
          </ac:spMkLst>
        </pc:spChg>
        <pc:spChg chg="add del mod">
          <ac:chgData name="Mathias Richerzhagen" userId="061c65f5-fcc4-473b-b050-8f78d278d79d" providerId="ADAL" clId="{A842A9AE-2086-46D4-A66A-B6B8C4333E4F}" dt="2024-12-03T14:54:36.953" v="279" actId="478"/>
          <ac:spMkLst>
            <pc:docMk/>
            <pc:sldMk cId="1734193522" sldId="290"/>
            <ac:spMk id="14" creationId="{83EF4367-4C7E-0DDF-8D7E-1635DDFA7829}"/>
          </ac:spMkLst>
        </pc:spChg>
        <pc:spChg chg="add mod">
          <ac:chgData name="Mathias Richerzhagen" userId="061c65f5-fcc4-473b-b050-8f78d278d79d" providerId="ADAL" clId="{A842A9AE-2086-46D4-A66A-B6B8C4333E4F}" dt="2024-12-03T14:54:40.864" v="280"/>
          <ac:spMkLst>
            <pc:docMk/>
            <pc:sldMk cId="1734193522" sldId="290"/>
            <ac:spMk id="15" creationId="{9E44C86B-8D98-144A-F207-D62DBBFBFD77}"/>
          </ac:spMkLst>
        </pc:spChg>
        <pc:picChg chg="add mod modCrop">
          <ac:chgData name="Mathias Richerzhagen" userId="061c65f5-fcc4-473b-b050-8f78d278d79d" providerId="ADAL" clId="{A842A9AE-2086-46D4-A66A-B6B8C4333E4F}" dt="2024-12-03T14:49:24.767" v="100" actId="1076"/>
          <ac:picMkLst>
            <pc:docMk/>
            <pc:sldMk cId="1734193522" sldId="290"/>
            <ac:picMk id="11" creationId="{F5484DB9-E787-8B42-723B-177BBF910C43}"/>
          </ac:picMkLst>
        </pc:picChg>
        <pc:picChg chg="add mod">
          <ac:chgData name="Mathias Richerzhagen" userId="061c65f5-fcc4-473b-b050-8f78d278d79d" providerId="ADAL" clId="{A842A9AE-2086-46D4-A66A-B6B8C4333E4F}" dt="2024-12-03T14:46:02.459" v="22" actId="167"/>
          <ac:picMkLst>
            <pc:docMk/>
            <pc:sldMk cId="1734193522" sldId="290"/>
            <ac:picMk id="1026" creationId="{89A15605-5787-77B9-A063-ADA571CA71CE}"/>
          </ac:picMkLst>
        </pc:picChg>
        <pc:cxnChg chg="add mod">
          <ac:chgData name="Mathias Richerzhagen" userId="061c65f5-fcc4-473b-b050-8f78d278d79d" providerId="ADAL" clId="{A842A9AE-2086-46D4-A66A-B6B8C4333E4F}" dt="2024-12-03T14:49:44.861" v="104" actId="208"/>
          <ac:cxnSpMkLst>
            <pc:docMk/>
            <pc:sldMk cId="1734193522" sldId="290"/>
            <ac:cxnSpMk id="13" creationId="{74FF04B3-0149-E0FC-0276-38467112429B}"/>
          </ac:cxnSpMkLst>
        </pc:cxnChg>
      </pc:sldChg>
      <pc:sldChg chg="addSp delSp modSp add del mod setBg">
        <pc:chgData name="Mathias Richerzhagen" userId="061c65f5-fcc4-473b-b050-8f78d278d79d" providerId="ADAL" clId="{A842A9AE-2086-46D4-A66A-B6B8C4333E4F}" dt="2024-12-03T14:49:29.145" v="101" actId="2696"/>
        <pc:sldMkLst>
          <pc:docMk/>
          <pc:sldMk cId="1485503539" sldId="291"/>
        </pc:sldMkLst>
        <pc:spChg chg="mod">
          <ac:chgData name="Mathias Richerzhagen" userId="061c65f5-fcc4-473b-b050-8f78d278d79d" providerId="ADAL" clId="{A842A9AE-2086-46D4-A66A-B6B8C4333E4F}" dt="2024-12-03T14:47:16.756" v="64" actId="26606"/>
          <ac:spMkLst>
            <pc:docMk/>
            <pc:sldMk cId="1485503539" sldId="291"/>
            <ac:spMk id="2" creationId="{94159FCD-162A-14F4-2206-6FA37010D013}"/>
          </ac:spMkLst>
        </pc:spChg>
        <pc:spChg chg="mod ord">
          <ac:chgData name="Mathias Richerzhagen" userId="061c65f5-fcc4-473b-b050-8f78d278d79d" providerId="ADAL" clId="{A842A9AE-2086-46D4-A66A-B6B8C4333E4F}" dt="2024-12-03T14:47:16.756" v="64" actId="26606"/>
          <ac:spMkLst>
            <pc:docMk/>
            <pc:sldMk cId="1485503539" sldId="291"/>
            <ac:spMk id="4" creationId="{B2192BD0-5241-2075-560C-695034247A53}"/>
          </ac:spMkLst>
        </pc:spChg>
        <pc:spChg chg="mod">
          <ac:chgData name="Mathias Richerzhagen" userId="061c65f5-fcc4-473b-b050-8f78d278d79d" providerId="ADAL" clId="{A842A9AE-2086-46D4-A66A-B6B8C4333E4F}" dt="2024-12-03T14:47:16.756" v="64" actId="26606"/>
          <ac:spMkLst>
            <pc:docMk/>
            <pc:sldMk cId="1485503539" sldId="291"/>
            <ac:spMk id="6" creationId="{66463F8D-BD74-F879-888A-1C977688672E}"/>
          </ac:spMkLst>
        </pc:spChg>
        <pc:spChg chg="add del mod topLvl">
          <ac:chgData name="Mathias Richerzhagen" userId="061c65f5-fcc4-473b-b050-8f78d278d79d" providerId="ADAL" clId="{A842A9AE-2086-46D4-A66A-B6B8C4333E4F}" dt="2024-12-03T14:48:16.394" v="77" actId="478"/>
          <ac:spMkLst>
            <pc:docMk/>
            <pc:sldMk cId="1485503539" sldId="291"/>
            <ac:spMk id="7" creationId="{DDE56173-C7BD-E612-6ED3-E3E6D0AECBB5}"/>
          </ac:spMkLst>
        </pc:spChg>
        <pc:spChg chg="add del mod topLvl">
          <ac:chgData name="Mathias Richerzhagen" userId="061c65f5-fcc4-473b-b050-8f78d278d79d" providerId="ADAL" clId="{A842A9AE-2086-46D4-A66A-B6B8C4333E4F}" dt="2024-12-03T14:48:14.982" v="75" actId="478"/>
          <ac:spMkLst>
            <pc:docMk/>
            <pc:sldMk cId="1485503539" sldId="291"/>
            <ac:spMk id="10" creationId="{767C2D19-3BF9-6B83-B2E1-E55878CCEF7E}"/>
          </ac:spMkLst>
        </pc:spChg>
        <pc:grpChg chg="add del mod">
          <ac:chgData name="Mathias Richerzhagen" userId="061c65f5-fcc4-473b-b050-8f78d278d79d" providerId="ADAL" clId="{A842A9AE-2086-46D4-A66A-B6B8C4333E4F}" dt="2024-12-03T14:48:10.470" v="73" actId="165"/>
          <ac:grpSpMkLst>
            <pc:docMk/>
            <pc:sldMk cId="1485503539" sldId="291"/>
            <ac:grpSpMk id="3" creationId="{1A443804-8670-0C60-853F-4F869A3826A5}"/>
          </ac:grpSpMkLst>
        </pc:grpChg>
        <pc:picChg chg="add del mod topLvl">
          <ac:chgData name="Mathias Richerzhagen" userId="061c65f5-fcc4-473b-b050-8f78d278d79d" providerId="ADAL" clId="{A842A9AE-2086-46D4-A66A-B6B8C4333E4F}" dt="2024-12-03T14:48:24.099" v="80" actId="21"/>
          <ac:picMkLst>
            <pc:docMk/>
            <pc:sldMk cId="1485503539" sldId="291"/>
            <ac:picMk id="5" creationId="{F5484DB9-E787-8B42-723B-177BBF910C43}"/>
          </ac:picMkLst>
        </pc:picChg>
        <pc:picChg chg="del">
          <ac:chgData name="Mathias Richerzhagen" userId="061c65f5-fcc4-473b-b050-8f78d278d79d" providerId="ADAL" clId="{A842A9AE-2086-46D4-A66A-B6B8C4333E4F}" dt="2024-12-03T14:47:05.544" v="59" actId="478"/>
          <ac:picMkLst>
            <pc:docMk/>
            <pc:sldMk cId="1485503539" sldId="291"/>
            <ac:picMk id="1026" creationId="{89A15605-5787-77B9-A063-ADA571CA71CE}"/>
          </ac:picMkLst>
        </pc:picChg>
        <pc:picChg chg="add mod ord">
          <ac:chgData name="Mathias Richerzhagen" userId="061c65f5-fcc4-473b-b050-8f78d278d79d" providerId="ADAL" clId="{A842A9AE-2086-46D4-A66A-B6B8C4333E4F}" dt="2024-12-03T14:47:21.292" v="66" actId="167"/>
          <ac:picMkLst>
            <pc:docMk/>
            <pc:sldMk cId="1485503539" sldId="291"/>
            <ac:picMk id="2050" creationId="{AD7CA2EF-A13F-0676-1053-EBD9B173FD9E}"/>
          </ac:picMkLst>
        </pc:picChg>
        <pc:cxnChg chg="add del mod topLvl">
          <ac:chgData name="Mathias Richerzhagen" userId="061c65f5-fcc4-473b-b050-8f78d278d79d" providerId="ADAL" clId="{A842A9AE-2086-46D4-A66A-B6B8C4333E4F}" dt="2024-12-03T14:48:15.544" v="76" actId="478"/>
          <ac:cxnSpMkLst>
            <pc:docMk/>
            <pc:sldMk cId="1485503539" sldId="291"/>
            <ac:cxnSpMk id="8" creationId="{4CCE0795-5661-E6BD-7C7B-40D53B9655EE}"/>
          </ac:cxnSpMkLst>
        </pc:cxnChg>
        <pc:cxnChg chg="add del mod topLvl">
          <ac:chgData name="Mathias Richerzhagen" userId="061c65f5-fcc4-473b-b050-8f78d278d79d" providerId="ADAL" clId="{A842A9AE-2086-46D4-A66A-B6B8C4333E4F}" dt="2024-12-03T14:48:16.966" v="78" actId="478"/>
          <ac:cxnSpMkLst>
            <pc:docMk/>
            <pc:sldMk cId="1485503539" sldId="291"/>
            <ac:cxnSpMk id="9" creationId="{6833E1E0-6D3C-E979-951C-653895F61673}"/>
          </ac:cxnSpMkLst>
        </pc:cxnChg>
        <pc:cxnChg chg="add del">
          <ac:chgData name="Mathias Richerzhagen" userId="061c65f5-fcc4-473b-b050-8f78d278d79d" providerId="ADAL" clId="{A842A9AE-2086-46D4-A66A-B6B8C4333E4F}" dt="2024-12-03T14:47:16.756" v="64" actId="26606"/>
          <ac:cxnSpMkLst>
            <pc:docMk/>
            <pc:sldMk cId="1485503539" sldId="291"/>
            <ac:cxnSpMk id="2055" creationId="{192712F8-36FA-35DF-0CE8-4098D93322A3}"/>
          </ac:cxnSpMkLst>
        </pc:cxnChg>
        <pc:cxnChg chg="add del">
          <ac:chgData name="Mathias Richerzhagen" userId="061c65f5-fcc4-473b-b050-8f78d278d79d" providerId="ADAL" clId="{A842A9AE-2086-46D4-A66A-B6B8C4333E4F}" dt="2024-12-03T14:47:16.756" v="64" actId="26606"/>
          <ac:cxnSpMkLst>
            <pc:docMk/>
            <pc:sldMk cId="1485503539" sldId="291"/>
            <ac:cxnSpMk id="2057" creationId="{AF9469B9-6468-5B6A-E832-8D4590388432}"/>
          </ac:cxnSpMkLst>
        </pc:cxnChg>
      </pc:sldChg>
      <pc:sldChg chg="addSp delSp modSp add mod ord">
        <pc:chgData name="Mathias Richerzhagen" userId="061c65f5-fcc4-473b-b050-8f78d278d79d" providerId="ADAL" clId="{A842A9AE-2086-46D4-A66A-B6B8C4333E4F}" dt="2024-12-03T14:54:22.823" v="263" actId="1076"/>
        <pc:sldMkLst>
          <pc:docMk/>
          <pc:sldMk cId="2305616333" sldId="291"/>
        </pc:sldMkLst>
        <pc:spChg chg="mod">
          <ac:chgData name="Mathias Richerzhagen" userId="061c65f5-fcc4-473b-b050-8f78d278d79d" providerId="ADAL" clId="{A842A9AE-2086-46D4-A66A-B6B8C4333E4F}" dt="2024-12-03T14:50:44.103" v="120" actId="207"/>
          <ac:spMkLst>
            <pc:docMk/>
            <pc:sldMk cId="2305616333" sldId="291"/>
            <ac:spMk id="2" creationId="{94159FCD-162A-14F4-2206-6FA37010D013}"/>
          </ac:spMkLst>
        </pc:spChg>
        <pc:spChg chg="add mod">
          <ac:chgData name="Mathias Richerzhagen" userId="061c65f5-fcc4-473b-b050-8f78d278d79d" providerId="ADAL" clId="{A842A9AE-2086-46D4-A66A-B6B8C4333E4F}" dt="2024-12-03T14:54:22.823" v="263" actId="1076"/>
          <ac:spMkLst>
            <pc:docMk/>
            <pc:sldMk cId="2305616333" sldId="291"/>
            <ac:spMk id="3" creationId="{22D5EDFD-2A90-9621-B2EE-23A45C83F945}"/>
          </ac:spMkLst>
        </pc:spChg>
        <pc:spChg chg="del">
          <ac:chgData name="Mathias Richerzhagen" userId="061c65f5-fcc4-473b-b050-8f78d278d79d" providerId="ADAL" clId="{A842A9AE-2086-46D4-A66A-B6B8C4333E4F}" dt="2024-12-03T14:51:25.208" v="144" actId="478"/>
          <ac:spMkLst>
            <pc:docMk/>
            <pc:sldMk cId="2305616333" sldId="291"/>
            <ac:spMk id="4" creationId="{B2192BD0-5241-2075-560C-695034247A53}"/>
          </ac:spMkLst>
        </pc:spChg>
        <pc:spChg chg="del">
          <ac:chgData name="Mathias Richerzhagen" userId="061c65f5-fcc4-473b-b050-8f78d278d79d" providerId="ADAL" clId="{A842A9AE-2086-46D4-A66A-B6B8C4333E4F}" dt="2024-12-03T14:51:23.815" v="143" actId="478"/>
          <ac:spMkLst>
            <pc:docMk/>
            <pc:sldMk cId="2305616333" sldId="291"/>
            <ac:spMk id="6" creationId="{66463F8D-BD74-F879-888A-1C977688672E}"/>
          </ac:spMkLst>
        </pc:spChg>
        <pc:picChg chg="del">
          <ac:chgData name="Mathias Richerzhagen" userId="061c65f5-fcc4-473b-b050-8f78d278d79d" providerId="ADAL" clId="{A842A9AE-2086-46D4-A66A-B6B8C4333E4F}" dt="2024-12-03T14:49:56.517" v="109" actId="478"/>
          <ac:picMkLst>
            <pc:docMk/>
            <pc:sldMk cId="2305616333" sldId="291"/>
            <ac:picMk id="11" creationId="{F5484DB9-E787-8B42-723B-177BBF910C43}"/>
          </ac:picMkLst>
        </pc:picChg>
        <pc:picChg chg="del">
          <ac:chgData name="Mathias Richerzhagen" userId="061c65f5-fcc4-473b-b050-8f78d278d79d" providerId="ADAL" clId="{A842A9AE-2086-46D4-A66A-B6B8C4333E4F}" dt="2024-12-03T14:49:55.687" v="108" actId="478"/>
          <ac:picMkLst>
            <pc:docMk/>
            <pc:sldMk cId="2305616333" sldId="291"/>
            <ac:picMk id="1026" creationId="{89A15605-5787-77B9-A063-ADA571CA71CE}"/>
          </ac:picMkLst>
        </pc:picChg>
        <pc:picChg chg="add mod">
          <ac:chgData name="Mathias Richerzhagen" userId="061c65f5-fcc4-473b-b050-8f78d278d79d" providerId="ADAL" clId="{A842A9AE-2086-46D4-A66A-B6B8C4333E4F}" dt="2024-12-03T14:50:24.834" v="117" actId="167"/>
          <ac:picMkLst>
            <pc:docMk/>
            <pc:sldMk cId="2305616333" sldId="291"/>
            <ac:picMk id="3074" creationId="{27122B50-4124-104B-0F7E-683E1AAC96D5}"/>
          </ac:picMkLst>
        </pc:picChg>
        <pc:cxnChg chg="del">
          <ac:chgData name="Mathias Richerzhagen" userId="061c65f5-fcc4-473b-b050-8f78d278d79d" providerId="ADAL" clId="{A842A9AE-2086-46D4-A66A-B6B8C4333E4F}" dt="2024-12-03T14:49:57.416" v="110" actId="478"/>
          <ac:cxnSpMkLst>
            <pc:docMk/>
            <pc:sldMk cId="2305616333" sldId="291"/>
            <ac:cxnSpMk id="13" creationId="{74FF04B3-0149-E0FC-0276-38467112429B}"/>
          </ac:cxnSpMkLst>
        </pc:cxnChg>
      </pc:sldChg>
      <pc:sldChg chg="addSp delSp modSp add mod ord">
        <pc:chgData name="Mathias Richerzhagen" userId="061c65f5-fcc4-473b-b050-8f78d278d79d" providerId="ADAL" clId="{A842A9AE-2086-46D4-A66A-B6B8C4333E4F}" dt="2024-12-03T15:12:17.383" v="806" actId="20577"/>
        <pc:sldMkLst>
          <pc:docMk/>
          <pc:sldMk cId="3760869060" sldId="292"/>
        </pc:sldMkLst>
        <pc:spChg chg="mod">
          <ac:chgData name="Mathias Richerzhagen" userId="061c65f5-fcc4-473b-b050-8f78d278d79d" providerId="ADAL" clId="{A842A9AE-2086-46D4-A66A-B6B8C4333E4F}" dt="2024-12-03T15:12:17.383" v="806" actId="20577"/>
          <ac:spMkLst>
            <pc:docMk/>
            <pc:sldMk cId="3760869060" sldId="292"/>
            <ac:spMk id="2" creationId="{94159FCD-162A-14F4-2206-6FA37010D013}"/>
          </ac:spMkLst>
        </pc:spChg>
        <pc:spChg chg="del">
          <ac:chgData name="Mathias Richerzhagen" userId="061c65f5-fcc4-473b-b050-8f78d278d79d" providerId="ADAL" clId="{A842A9AE-2086-46D4-A66A-B6B8C4333E4F}" dt="2024-12-03T14:52:30.684" v="181" actId="478"/>
          <ac:spMkLst>
            <pc:docMk/>
            <pc:sldMk cId="3760869060" sldId="292"/>
            <ac:spMk id="3" creationId="{7C83E420-0CB6-12C9-626D-667E87BD3AB4}"/>
          </ac:spMkLst>
        </pc:spChg>
        <pc:spChg chg="del">
          <ac:chgData name="Mathias Richerzhagen" userId="061c65f5-fcc4-473b-b050-8f78d278d79d" providerId="ADAL" clId="{A842A9AE-2086-46D4-A66A-B6B8C4333E4F}" dt="2024-12-03T14:52:34.843" v="183" actId="478"/>
          <ac:spMkLst>
            <pc:docMk/>
            <pc:sldMk cId="3760869060" sldId="292"/>
            <ac:spMk id="5" creationId="{034DB9CC-A76F-04D2-AF28-A1CCAF1A51C3}"/>
          </ac:spMkLst>
        </pc:spChg>
        <pc:spChg chg="add del mod">
          <ac:chgData name="Mathias Richerzhagen" userId="061c65f5-fcc4-473b-b050-8f78d278d79d" providerId="ADAL" clId="{A842A9AE-2086-46D4-A66A-B6B8C4333E4F}" dt="2024-12-03T14:52:33.566" v="182" actId="478"/>
          <ac:spMkLst>
            <pc:docMk/>
            <pc:sldMk cId="3760869060" sldId="292"/>
            <ac:spMk id="8" creationId="{A0C1A4EB-4DFE-465C-1C78-2C4CFBF204FA}"/>
          </ac:spMkLst>
        </pc:spChg>
        <pc:spChg chg="add del mod">
          <ac:chgData name="Mathias Richerzhagen" userId="061c65f5-fcc4-473b-b050-8f78d278d79d" providerId="ADAL" clId="{A842A9AE-2086-46D4-A66A-B6B8C4333E4F}" dt="2024-12-03T14:52:36.216" v="184" actId="478"/>
          <ac:spMkLst>
            <pc:docMk/>
            <pc:sldMk cId="3760869060" sldId="292"/>
            <ac:spMk id="10" creationId="{889E7A29-1DC2-607C-2309-7E3B7426F793}"/>
          </ac:spMkLst>
        </pc:spChg>
        <pc:spChg chg="add del mod">
          <ac:chgData name="Mathias Richerzhagen" userId="061c65f5-fcc4-473b-b050-8f78d278d79d" providerId="ADAL" clId="{A842A9AE-2086-46D4-A66A-B6B8C4333E4F}" dt="2024-12-03T14:52:47.561" v="186" actId="478"/>
          <ac:spMkLst>
            <pc:docMk/>
            <pc:sldMk cId="3760869060" sldId="292"/>
            <ac:spMk id="11" creationId="{1EF3F780-D0F0-194B-CFE8-6507B05A6284}"/>
          </ac:spMkLst>
        </pc:spChg>
        <pc:spChg chg="add del mod">
          <ac:chgData name="Mathias Richerzhagen" userId="061c65f5-fcc4-473b-b050-8f78d278d79d" providerId="ADAL" clId="{A842A9AE-2086-46D4-A66A-B6B8C4333E4F}" dt="2024-12-03T14:54:06.870" v="248" actId="478"/>
          <ac:spMkLst>
            <pc:docMk/>
            <pc:sldMk cId="3760869060" sldId="292"/>
            <ac:spMk id="12" creationId="{3257ECEA-67A2-B9A5-B3F1-F8C3B5375FE8}"/>
          </ac:spMkLst>
        </pc:spChg>
        <pc:spChg chg="add del mod">
          <ac:chgData name="Mathias Richerzhagen" userId="061c65f5-fcc4-473b-b050-8f78d278d79d" providerId="ADAL" clId="{A842A9AE-2086-46D4-A66A-B6B8C4333E4F}" dt="2024-12-03T14:54:06.345" v="247" actId="478"/>
          <ac:spMkLst>
            <pc:docMk/>
            <pc:sldMk cId="3760869060" sldId="292"/>
            <ac:spMk id="13" creationId="{C681470C-C45A-AE7C-8341-7CEF24EB1DB9}"/>
          </ac:spMkLst>
        </pc:spChg>
        <pc:spChg chg="add mod">
          <ac:chgData name="Mathias Richerzhagen" userId="061c65f5-fcc4-473b-b050-8f78d278d79d" providerId="ADAL" clId="{A842A9AE-2086-46D4-A66A-B6B8C4333E4F}" dt="2024-12-03T15:08:43.783" v="685" actId="1076"/>
          <ac:spMkLst>
            <pc:docMk/>
            <pc:sldMk cId="3760869060" sldId="292"/>
            <ac:spMk id="15" creationId="{7B2F8995-0582-467B-9C96-82D9D5C55694}"/>
          </ac:spMkLst>
        </pc:spChg>
        <pc:spChg chg="add del mod">
          <ac:chgData name="Mathias Richerzhagen" userId="061c65f5-fcc4-473b-b050-8f78d278d79d" providerId="ADAL" clId="{A842A9AE-2086-46D4-A66A-B6B8C4333E4F}" dt="2024-12-03T14:55:25.494" v="301" actId="478"/>
          <ac:spMkLst>
            <pc:docMk/>
            <pc:sldMk cId="3760869060" sldId="292"/>
            <ac:spMk id="16" creationId="{C36A555B-DBCD-4B39-BCC3-33919C564B41}"/>
          </ac:spMkLst>
        </pc:spChg>
        <pc:spChg chg="add del mod">
          <ac:chgData name="Mathias Richerzhagen" userId="061c65f5-fcc4-473b-b050-8f78d278d79d" providerId="ADAL" clId="{A842A9AE-2086-46D4-A66A-B6B8C4333E4F}" dt="2024-12-03T14:55:27.817" v="302" actId="478"/>
          <ac:spMkLst>
            <pc:docMk/>
            <pc:sldMk cId="3760869060" sldId="292"/>
            <ac:spMk id="17" creationId="{80AE9D34-BC09-4644-BE22-522343117677}"/>
          </ac:spMkLst>
        </pc:spChg>
        <pc:spChg chg="add mod">
          <ac:chgData name="Mathias Richerzhagen" userId="061c65f5-fcc4-473b-b050-8f78d278d79d" providerId="ADAL" clId="{A842A9AE-2086-46D4-A66A-B6B8C4333E4F}" dt="2024-12-03T15:08:49.705" v="686" actId="1076"/>
          <ac:spMkLst>
            <pc:docMk/>
            <pc:sldMk cId="3760869060" sldId="292"/>
            <ac:spMk id="18" creationId="{B5D01C32-794B-4457-B5C6-3B213F0BBEAA}"/>
          </ac:spMkLst>
        </pc:spChg>
        <pc:spChg chg="add mod">
          <ac:chgData name="Mathias Richerzhagen" userId="061c65f5-fcc4-473b-b050-8f78d278d79d" providerId="ADAL" clId="{A842A9AE-2086-46D4-A66A-B6B8C4333E4F}" dt="2024-12-03T15:08:43.783" v="685" actId="1076"/>
          <ac:spMkLst>
            <pc:docMk/>
            <pc:sldMk cId="3760869060" sldId="292"/>
            <ac:spMk id="25" creationId="{F7B6C5A3-C8B2-4259-869F-82079B38C10D}"/>
          </ac:spMkLst>
        </pc:spChg>
        <pc:spChg chg="add del mod">
          <ac:chgData name="Mathias Richerzhagen" userId="061c65f5-fcc4-473b-b050-8f78d278d79d" providerId="ADAL" clId="{A842A9AE-2086-46D4-A66A-B6B8C4333E4F}" dt="2024-12-03T14:57:59.511" v="345" actId="478"/>
          <ac:spMkLst>
            <pc:docMk/>
            <pc:sldMk cId="3760869060" sldId="292"/>
            <ac:spMk id="27" creationId="{72010108-7AEB-4DFD-A867-8084452F1683}"/>
          </ac:spMkLst>
        </pc:spChg>
        <pc:spChg chg="add mod">
          <ac:chgData name="Mathias Richerzhagen" userId="061c65f5-fcc4-473b-b050-8f78d278d79d" providerId="ADAL" clId="{A842A9AE-2086-46D4-A66A-B6B8C4333E4F}" dt="2024-12-03T15:08:49.705" v="686" actId="1076"/>
          <ac:spMkLst>
            <pc:docMk/>
            <pc:sldMk cId="3760869060" sldId="292"/>
            <ac:spMk id="29" creationId="{288BBF94-921E-450F-AC6B-BE6390C25DC2}"/>
          </ac:spMkLst>
        </pc:spChg>
        <pc:spChg chg="add mod">
          <ac:chgData name="Mathias Richerzhagen" userId="061c65f5-fcc4-473b-b050-8f78d278d79d" providerId="ADAL" clId="{A842A9AE-2086-46D4-A66A-B6B8C4333E4F}" dt="2024-12-03T15:08:43.783" v="685" actId="1076"/>
          <ac:spMkLst>
            <pc:docMk/>
            <pc:sldMk cId="3760869060" sldId="292"/>
            <ac:spMk id="31" creationId="{B38A6242-F426-4A77-8BFB-CEFF1898C45A}"/>
          </ac:spMkLst>
        </pc:spChg>
        <pc:spChg chg="add del mod">
          <ac:chgData name="Mathias Richerzhagen" userId="061c65f5-fcc4-473b-b050-8f78d278d79d" providerId="ADAL" clId="{A842A9AE-2086-46D4-A66A-B6B8C4333E4F}" dt="2024-12-03T15:11:10.206" v="776" actId="20577"/>
          <ac:spMkLst>
            <pc:docMk/>
            <pc:sldMk cId="3760869060" sldId="292"/>
            <ac:spMk id="32" creationId="{141B578B-B21B-4FEF-BAEC-1E09EBB2CF05}"/>
          </ac:spMkLst>
        </pc:spChg>
        <pc:spChg chg="add del mod">
          <ac:chgData name="Mathias Richerzhagen" userId="061c65f5-fcc4-473b-b050-8f78d278d79d" providerId="ADAL" clId="{A842A9AE-2086-46D4-A66A-B6B8C4333E4F}" dt="2024-12-03T15:00:44.517" v="404" actId="478"/>
          <ac:spMkLst>
            <pc:docMk/>
            <pc:sldMk cId="3760869060" sldId="292"/>
            <ac:spMk id="33" creationId="{C9A260BD-AC8B-4FEF-A267-097DB308B1BA}"/>
          </ac:spMkLst>
        </pc:spChg>
        <pc:spChg chg="add mod">
          <ac:chgData name="Mathias Richerzhagen" userId="061c65f5-fcc4-473b-b050-8f78d278d79d" providerId="ADAL" clId="{A842A9AE-2086-46D4-A66A-B6B8C4333E4F}" dt="2024-12-03T14:55:49.779" v="310" actId="164"/>
          <ac:spMkLst>
            <pc:docMk/>
            <pc:sldMk cId="3760869060" sldId="292"/>
            <ac:spMk id="34" creationId="{42961A31-8F43-44F1-BCDC-6594AF42D27A}"/>
          </ac:spMkLst>
        </pc:spChg>
        <pc:spChg chg="add del mod topLvl">
          <ac:chgData name="Mathias Richerzhagen" userId="061c65f5-fcc4-473b-b050-8f78d278d79d" providerId="ADAL" clId="{A842A9AE-2086-46D4-A66A-B6B8C4333E4F}" dt="2024-12-03T15:00:42.889" v="403" actId="478"/>
          <ac:spMkLst>
            <pc:docMk/>
            <pc:sldMk cId="3760869060" sldId="292"/>
            <ac:spMk id="36" creationId="{6FDF328F-215A-4294-BD08-08435C7AA51A}"/>
          </ac:spMkLst>
        </pc:spChg>
        <pc:spChg chg="add mod topLvl">
          <ac:chgData name="Mathias Richerzhagen" userId="061c65f5-fcc4-473b-b050-8f78d278d79d" providerId="ADAL" clId="{A842A9AE-2086-46D4-A66A-B6B8C4333E4F}" dt="2024-12-03T15:10:54.859" v="771" actId="14100"/>
          <ac:spMkLst>
            <pc:docMk/>
            <pc:sldMk cId="3760869060" sldId="292"/>
            <ac:spMk id="38" creationId="{481A4072-3887-4C2B-BB0D-9A5E3658C106}"/>
          </ac:spMkLst>
        </pc:spChg>
        <pc:spChg chg="mod topLvl">
          <ac:chgData name="Mathias Richerzhagen" userId="061c65f5-fcc4-473b-b050-8f78d278d79d" providerId="ADAL" clId="{A842A9AE-2086-46D4-A66A-B6B8C4333E4F}" dt="2024-12-03T15:08:49.705" v="686" actId="1076"/>
          <ac:spMkLst>
            <pc:docMk/>
            <pc:sldMk cId="3760869060" sldId="292"/>
            <ac:spMk id="46" creationId="{954FEFDF-2192-7A32-BB33-36A28E6BEAF0}"/>
          </ac:spMkLst>
        </pc:spChg>
        <pc:spChg chg="del mod topLvl">
          <ac:chgData name="Mathias Richerzhagen" userId="061c65f5-fcc4-473b-b050-8f78d278d79d" providerId="ADAL" clId="{A842A9AE-2086-46D4-A66A-B6B8C4333E4F}" dt="2024-12-03T15:02:05.625" v="438" actId="478"/>
          <ac:spMkLst>
            <pc:docMk/>
            <pc:sldMk cId="3760869060" sldId="292"/>
            <ac:spMk id="48" creationId="{76939B3A-ACDE-DE2E-5452-81EEF242B8AB}"/>
          </ac:spMkLst>
        </pc:spChg>
        <pc:spChg chg="add mod">
          <ac:chgData name="Mathias Richerzhagen" userId="061c65f5-fcc4-473b-b050-8f78d278d79d" providerId="ADAL" clId="{A842A9AE-2086-46D4-A66A-B6B8C4333E4F}" dt="2024-12-03T15:08:49.705" v="686" actId="1076"/>
          <ac:spMkLst>
            <pc:docMk/>
            <pc:sldMk cId="3760869060" sldId="292"/>
            <ac:spMk id="51" creationId="{C21D731B-E252-6CD4-C575-5131F182E1F3}"/>
          </ac:spMkLst>
        </pc:spChg>
        <pc:spChg chg="mod topLvl">
          <ac:chgData name="Mathias Richerzhagen" userId="061c65f5-fcc4-473b-b050-8f78d278d79d" providerId="ADAL" clId="{A842A9AE-2086-46D4-A66A-B6B8C4333E4F}" dt="2024-12-03T15:08:49.705" v="686" actId="1076"/>
          <ac:spMkLst>
            <pc:docMk/>
            <pc:sldMk cId="3760869060" sldId="292"/>
            <ac:spMk id="54" creationId="{83FDF4A8-0838-1374-1941-35ADF04E1334}"/>
          </ac:spMkLst>
        </pc:spChg>
        <pc:spChg chg="del mod topLvl">
          <ac:chgData name="Mathias Richerzhagen" userId="061c65f5-fcc4-473b-b050-8f78d278d79d" providerId="ADAL" clId="{A842A9AE-2086-46D4-A66A-B6B8C4333E4F}" dt="2024-12-03T15:02:01.754" v="437" actId="478"/>
          <ac:spMkLst>
            <pc:docMk/>
            <pc:sldMk cId="3760869060" sldId="292"/>
            <ac:spMk id="55" creationId="{86833C18-01A6-FFCD-5B9B-80EF176BAE9C}"/>
          </ac:spMkLst>
        </pc:spChg>
        <pc:spChg chg="mod topLvl">
          <ac:chgData name="Mathias Richerzhagen" userId="061c65f5-fcc4-473b-b050-8f78d278d79d" providerId="ADAL" clId="{A842A9AE-2086-46D4-A66A-B6B8C4333E4F}" dt="2024-12-03T15:08:49.705" v="686" actId="1076"/>
          <ac:spMkLst>
            <pc:docMk/>
            <pc:sldMk cId="3760869060" sldId="292"/>
            <ac:spMk id="57" creationId="{070D6BEC-A660-28FD-C875-6C426E014586}"/>
          </ac:spMkLst>
        </pc:spChg>
        <pc:spChg chg="add del mod">
          <ac:chgData name="Mathias Richerzhagen" userId="061c65f5-fcc4-473b-b050-8f78d278d79d" providerId="ADAL" clId="{A842A9AE-2086-46D4-A66A-B6B8C4333E4F}" dt="2024-12-03T15:12:07.283" v="791" actId="478"/>
          <ac:spMkLst>
            <pc:docMk/>
            <pc:sldMk cId="3760869060" sldId="292"/>
            <ac:spMk id="78" creationId="{A1B70174-00CB-2009-F32E-BD143E2C193E}"/>
          </ac:spMkLst>
        </pc:spChg>
        <pc:spChg chg="add del mod">
          <ac:chgData name="Mathias Richerzhagen" userId="061c65f5-fcc4-473b-b050-8f78d278d79d" providerId="ADAL" clId="{A842A9AE-2086-46D4-A66A-B6B8C4333E4F}" dt="2024-12-03T15:12:05.253" v="788" actId="478"/>
          <ac:spMkLst>
            <pc:docMk/>
            <pc:sldMk cId="3760869060" sldId="292"/>
            <ac:spMk id="79" creationId="{E6452FB4-3C6D-0110-C054-4C5EE9FCD026}"/>
          </ac:spMkLst>
        </pc:spChg>
        <pc:spChg chg="add del mod ord">
          <ac:chgData name="Mathias Richerzhagen" userId="061c65f5-fcc4-473b-b050-8f78d278d79d" providerId="ADAL" clId="{A842A9AE-2086-46D4-A66A-B6B8C4333E4F}" dt="2024-12-03T15:12:07.880" v="792" actId="478"/>
          <ac:spMkLst>
            <pc:docMk/>
            <pc:sldMk cId="3760869060" sldId="292"/>
            <ac:spMk id="86" creationId="{32F63201-46F5-0B09-993D-A7A912E97536}"/>
          </ac:spMkLst>
        </pc:spChg>
        <pc:spChg chg="add del mod ord">
          <ac:chgData name="Mathias Richerzhagen" userId="061c65f5-fcc4-473b-b050-8f78d278d79d" providerId="ADAL" clId="{A842A9AE-2086-46D4-A66A-B6B8C4333E4F}" dt="2024-12-03T15:12:04.137" v="786" actId="478"/>
          <ac:spMkLst>
            <pc:docMk/>
            <pc:sldMk cId="3760869060" sldId="292"/>
            <ac:spMk id="87" creationId="{42A19244-8133-EDAA-8081-0156CFCE842A}"/>
          </ac:spMkLst>
        </pc:spChg>
        <pc:spChg chg="add del mod ord">
          <ac:chgData name="Mathias Richerzhagen" userId="061c65f5-fcc4-473b-b050-8f78d278d79d" providerId="ADAL" clId="{A842A9AE-2086-46D4-A66A-B6B8C4333E4F}" dt="2024-12-03T15:12:10.694" v="797" actId="478"/>
          <ac:spMkLst>
            <pc:docMk/>
            <pc:sldMk cId="3760869060" sldId="292"/>
            <ac:spMk id="88" creationId="{86E519CE-62F4-35F3-9328-E955D8A39AB4}"/>
          </ac:spMkLst>
        </pc:spChg>
        <pc:spChg chg="add del mod ord">
          <ac:chgData name="Mathias Richerzhagen" userId="061c65f5-fcc4-473b-b050-8f78d278d79d" providerId="ADAL" clId="{A842A9AE-2086-46D4-A66A-B6B8C4333E4F}" dt="2024-12-03T15:12:10.277" v="796" actId="478"/>
          <ac:spMkLst>
            <pc:docMk/>
            <pc:sldMk cId="3760869060" sldId="292"/>
            <ac:spMk id="89" creationId="{4DEE5645-6FB4-448D-1AB3-EA07295B6AE7}"/>
          </ac:spMkLst>
        </pc:spChg>
        <pc:spChg chg="add del mod">
          <ac:chgData name="Mathias Richerzhagen" userId="061c65f5-fcc4-473b-b050-8f78d278d79d" providerId="ADAL" clId="{A842A9AE-2086-46D4-A66A-B6B8C4333E4F}" dt="2024-12-03T15:10:01.063" v="752" actId="478"/>
          <ac:spMkLst>
            <pc:docMk/>
            <pc:sldMk cId="3760869060" sldId="292"/>
            <ac:spMk id="107" creationId="{5254ECDA-F848-7AE2-F204-B5FE166868D1}"/>
          </ac:spMkLst>
        </pc:spChg>
        <pc:spChg chg="add mod">
          <ac:chgData name="Mathias Richerzhagen" userId="061c65f5-fcc4-473b-b050-8f78d278d79d" providerId="ADAL" clId="{A842A9AE-2086-46D4-A66A-B6B8C4333E4F}" dt="2024-12-03T15:11:15.735" v="778" actId="1076"/>
          <ac:spMkLst>
            <pc:docMk/>
            <pc:sldMk cId="3760869060" sldId="292"/>
            <ac:spMk id="108" creationId="{55E3D5CF-83F6-4EBA-85C9-8EE5BF23CB31}"/>
          </ac:spMkLst>
        </pc:spChg>
        <pc:spChg chg="add del mod">
          <ac:chgData name="Mathias Richerzhagen" userId="061c65f5-fcc4-473b-b050-8f78d278d79d" providerId="ADAL" clId="{A842A9AE-2086-46D4-A66A-B6B8C4333E4F}" dt="2024-12-03T15:10:01.577" v="753" actId="478"/>
          <ac:spMkLst>
            <pc:docMk/>
            <pc:sldMk cId="3760869060" sldId="292"/>
            <ac:spMk id="109" creationId="{9765F608-CF55-C769-F86E-0028FF76EF29}"/>
          </ac:spMkLst>
        </pc:spChg>
        <pc:spChg chg="add mod">
          <ac:chgData name="Mathias Richerzhagen" userId="061c65f5-fcc4-473b-b050-8f78d278d79d" providerId="ADAL" clId="{A842A9AE-2086-46D4-A66A-B6B8C4333E4F}" dt="2024-12-03T15:10:14.299" v="759" actId="20577"/>
          <ac:spMkLst>
            <pc:docMk/>
            <pc:sldMk cId="3760869060" sldId="292"/>
            <ac:spMk id="110" creationId="{92C96460-DC45-03DC-7B2B-4590F8AE8E90}"/>
          </ac:spMkLst>
        </pc:spChg>
        <pc:spChg chg="add mod">
          <ac:chgData name="Mathias Richerzhagen" userId="061c65f5-fcc4-473b-b050-8f78d278d79d" providerId="ADAL" clId="{A842A9AE-2086-46D4-A66A-B6B8C4333E4F}" dt="2024-12-03T15:10:20.918" v="763" actId="20577"/>
          <ac:spMkLst>
            <pc:docMk/>
            <pc:sldMk cId="3760869060" sldId="292"/>
            <ac:spMk id="111" creationId="{DE9C53B8-7166-CD2A-2F49-F381EBEB6677}"/>
          </ac:spMkLst>
        </pc:spChg>
        <pc:grpChg chg="add del mod">
          <ac:chgData name="Mathias Richerzhagen" userId="061c65f5-fcc4-473b-b050-8f78d278d79d" providerId="ADAL" clId="{A842A9AE-2086-46D4-A66A-B6B8C4333E4F}" dt="2024-12-03T14:59:17.084" v="372" actId="165"/>
          <ac:grpSpMkLst>
            <pc:docMk/>
            <pc:sldMk cId="3760869060" sldId="292"/>
            <ac:grpSpMk id="19" creationId="{3FA5832B-E359-4007-BC05-BFEA89A12EC6}"/>
          </ac:grpSpMkLst>
        </pc:grpChg>
        <pc:grpChg chg="add del mod">
          <ac:chgData name="Mathias Richerzhagen" userId="061c65f5-fcc4-473b-b050-8f78d278d79d" providerId="ADAL" clId="{A842A9AE-2086-46D4-A66A-B6B8C4333E4F}" dt="2024-12-03T15:00:42.889" v="403" actId="478"/>
          <ac:grpSpMkLst>
            <pc:docMk/>
            <pc:sldMk cId="3760869060" sldId="292"/>
            <ac:grpSpMk id="20" creationId="{80C6175A-0F6D-4517-8216-0351023D62EB}"/>
          </ac:grpSpMkLst>
        </pc:grpChg>
        <pc:grpChg chg="add del mod">
          <ac:chgData name="Mathias Richerzhagen" userId="061c65f5-fcc4-473b-b050-8f78d278d79d" providerId="ADAL" clId="{A842A9AE-2086-46D4-A66A-B6B8C4333E4F}" dt="2024-12-03T15:02:12.184" v="440" actId="478"/>
          <ac:grpSpMkLst>
            <pc:docMk/>
            <pc:sldMk cId="3760869060" sldId="292"/>
            <ac:grpSpMk id="21" creationId="{867CF817-BAE8-4604-9A2F-198E6C3A393D}"/>
          </ac:grpSpMkLst>
        </pc:grpChg>
        <pc:grpChg chg="add mod">
          <ac:chgData name="Mathias Richerzhagen" userId="061c65f5-fcc4-473b-b050-8f78d278d79d" providerId="ADAL" clId="{A842A9AE-2086-46D4-A66A-B6B8C4333E4F}" dt="2024-12-03T14:55:49.779" v="310" actId="164"/>
          <ac:grpSpMkLst>
            <pc:docMk/>
            <pc:sldMk cId="3760869060" sldId="292"/>
            <ac:grpSpMk id="40" creationId="{752C08D6-F922-0036-56BD-420C324F0C86}"/>
          </ac:grpSpMkLst>
        </pc:grpChg>
        <pc:grpChg chg="add mod">
          <ac:chgData name="Mathias Richerzhagen" userId="061c65f5-fcc4-473b-b050-8f78d278d79d" providerId="ADAL" clId="{A842A9AE-2086-46D4-A66A-B6B8C4333E4F}" dt="2024-12-03T15:08:49.705" v="686" actId="1076"/>
          <ac:grpSpMkLst>
            <pc:docMk/>
            <pc:sldMk cId="3760869060" sldId="292"/>
            <ac:grpSpMk id="41" creationId="{D618A637-8D0E-4900-3D7E-E6AEEBD25C53}"/>
          </ac:grpSpMkLst>
        </pc:grpChg>
        <pc:grpChg chg="add mod">
          <ac:chgData name="Mathias Richerzhagen" userId="061c65f5-fcc4-473b-b050-8f78d278d79d" providerId="ADAL" clId="{A842A9AE-2086-46D4-A66A-B6B8C4333E4F}" dt="2024-12-03T15:08:43.783" v="685" actId="1076"/>
          <ac:grpSpMkLst>
            <pc:docMk/>
            <pc:sldMk cId="3760869060" sldId="292"/>
            <ac:grpSpMk id="42" creationId="{76F976B4-3402-1712-6880-3374C225418F}"/>
          </ac:grpSpMkLst>
        </pc:grpChg>
        <pc:grpChg chg="add mod">
          <ac:chgData name="Mathias Richerzhagen" userId="061c65f5-fcc4-473b-b050-8f78d278d79d" providerId="ADAL" clId="{A842A9AE-2086-46D4-A66A-B6B8C4333E4F}" dt="2024-12-03T15:08:49.705" v="686" actId="1076"/>
          <ac:grpSpMkLst>
            <pc:docMk/>
            <pc:sldMk cId="3760869060" sldId="292"/>
            <ac:grpSpMk id="43" creationId="{9073FDA3-B774-ED49-B543-175E31D0E319}"/>
          </ac:grpSpMkLst>
        </pc:grpChg>
        <pc:grpChg chg="add mod">
          <ac:chgData name="Mathias Richerzhagen" userId="061c65f5-fcc4-473b-b050-8f78d278d79d" providerId="ADAL" clId="{A842A9AE-2086-46D4-A66A-B6B8C4333E4F}" dt="2024-12-03T15:10:54.859" v="771" actId="14100"/>
          <ac:grpSpMkLst>
            <pc:docMk/>
            <pc:sldMk cId="3760869060" sldId="292"/>
            <ac:grpSpMk id="44" creationId="{B42CB436-93B9-870C-C316-DF240D22A1C3}"/>
          </ac:grpSpMkLst>
        </pc:grpChg>
        <pc:grpChg chg="add del mod">
          <ac:chgData name="Mathias Richerzhagen" userId="061c65f5-fcc4-473b-b050-8f78d278d79d" providerId="ADAL" clId="{A842A9AE-2086-46D4-A66A-B6B8C4333E4F}" dt="2024-12-03T15:00:09.439" v="392" actId="165"/>
          <ac:grpSpMkLst>
            <pc:docMk/>
            <pc:sldMk cId="3760869060" sldId="292"/>
            <ac:grpSpMk id="45" creationId="{D2A07F7A-97B8-F25C-7A02-835A3C61D438}"/>
          </ac:grpSpMkLst>
        </pc:grpChg>
        <pc:grpChg chg="add mod">
          <ac:chgData name="Mathias Richerzhagen" userId="061c65f5-fcc4-473b-b050-8f78d278d79d" providerId="ADAL" clId="{A842A9AE-2086-46D4-A66A-B6B8C4333E4F}" dt="2024-12-03T15:08:49.705" v="686" actId="1076"/>
          <ac:grpSpMkLst>
            <pc:docMk/>
            <pc:sldMk cId="3760869060" sldId="292"/>
            <ac:grpSpMk id="52" creationId="{083A51EB-2345-3ACB-D9F1-E3B68FBE92A8}"/>
          </ac:grpSpMkLst>
        </pc:grpChg>
        <pc:grpChg chg="add del mod">
          <ac:chgData name="Mathias Richerzhagen" userId="061c65f5-fcc4-473b-b050-8f78d278d79d" providerId="ADAL" clId="{A842A9AE-2086-46D4-A66A-B6B8C4333E4F}" dt="2024-12-03T15:01:19.225" v="415" actId="165"/>
          <ac:grpSpMkLst>
            <pc:docMk/>
            <pc:sldMk cId="3760869060" sldId="292"/>
            <ac:grpSpMk id="53" creationId="{E6CBCAC3-7A56-0E3F-AED4-D32DC0E84D6A}"/>
          </ac:grpSpMkLst>
        </pc:grpChg>
        <pc:grpChg chg="add mod">
          <ac:chgData name="Mathias Richerzhagen" userId="061c65f5-fcc4-473b-b050-8f78d278d79d" providerId="ADAL" clId="{A842A9AE-2086-46D4-A66A-B6B8C4333E4F}" dt="2024-12-03T15:08:49.705" v="686" actId="1076"/>
          <ac:grpSpMkLst>
            <pc:docMk/>
            <pc:sldMk cId="3760869060" sldId="292"/>
            <ac:grpSpMk id="59" creationId="{5A1F4CC7-3DD8-75F8-55B6-968CFAB11218}"/>
          </ac:grpSpMkLst>
        </pc:grpChg>
        <pc:picChg chg="add del mod">
          <ac:chgData name="Mathias Richerzhagen" userId="061c65f5-fcc4-473b-b050-8f78d278d79d" providerId="ADAL" clId="{A842A9AE-2086-46D4-A66A-B6B8C4333E4F}" dt="2024-12-03T14:55:18.552" v="297" actId="478"/>
          <ac:picMkLst>
            <pc:docMk/>
            <pc:sldMk cId="3760869060" sldId="292"/>
            <ac:picMk id="14" creationId="{642E5FAD-90E7-432D-8AD7-7AC11AAEE59E}"/>
          </ac:picMkLst>
        </pc:picChg>
        <pc:picChg chg="add mod">
          <ac:chgData name="Mathias Richerzhagen" userId="061c65f5-fcc4-473b-b050-8f78d278d79d" providerId="ADAL" clId="{A842A9AE-2086-46D4-A66A-B6B8C4333E4F}" dt="2024-12-03T15:08:49.705" v="686" actId="1076"/>
          <ac:picMkLst>
            <pc:docMk/>
            <pc:sldMk cId="3760869060" sldId="292"/>
            <ac:picMk id="28" creationId="{3386047C-A857-459A-BBC0-B1B7104ED7C7}"/>
          </ac:picMkLst>
        </pc:picChg>
        <pc:picChg chg="add mod">
          <ac:chgData name="Mathias Richerzhagen" userId="061c65f5-fcc4-473b-b050-8f78d278d79d" providerId="ADAL" clId="{A842A9AE-2086-46D4-A66A-B6B8C4333E4F}" dt="2024-12-03T15:08:43.783" v="685" actId="1076"/>
          <ac:picMkLst>
            <pc:docMk/>
            <pc:sldMk cId="3760869060" sldId="292"/>
            <ac:picMk id="30" creationId="{2C2B1940-492E-41BE-949B-E798731115D8}"/>
          </ac:picMkLst>
        </pc:picChg>
        <pc:picChg chg="add mod">
          <ac:chgData name="Mathias Richerzhagen" userId="061c65f5-fcc4-473b-b050-8f78d278d79d" providerId="ADAL" clId="{A842A9AE-2086-46D4-A66A-B6B8C4333E4F}" dt="2024-12-03T14:55:49.779" v="310" actId="164"/>
          <ac:picMkLst>
            <pc:docMk/>
            <pc:sldMk cId="3760869060" sldId="292"/>
            <ac:picMk id="35" creationId="{DDE429A3-2E76-42A9-B99A-568E59804900}"/>
          </ac:picMkLst>
        </pc:picChg>
        <pc:picChg chg="add del mod topLvl">
          <ac:chgData name="Mathias Richerzhagen" userId="061c65f5-fcc4-473b-b050-8f78d278d79d" providerId="ADAL" clId="{A842A9AE-2086-46D4-A66A-B6B8C4333E4F}" dt="2024-12-03T15:00:44.517" v="404" actId="478"/>
          <ac:picMkLst>
            <pc:docMk/>
            <pc:sldMk cId="3760869060" sldId="292"/>
            <ac:picMk id="37" creationId="{97BD7E8C-3E09-457C-B176-2A3F27F935C6}"/>
          </ac:picMkLst>
        </pc:picChg>
        <pc:picChg chg="add mod topLvl">
          <ac:chgData name="Mathias Richerzhagen" userId="061c65f5-fcc4-473b-b050-8f78d278d79d" providerId="ADAL" clId="{A842A9AE-2086-46D4-A66A-B6B8C4333E4F}" dt="2024-12-03T15:10:54.859" v="771" actId="14100"/>
          <ac:picMkLst>
            <pc:docMk/>
            <pc:sldMk cId="3760869060" sldId="292"/>
            <ac:picMk id="39" creationId="{D236E5DF-5D7D-40D0-A8FF-EE5B06F41D73}"/>
          </ac:picMkLst>
        </pc:picChg>
        <pc:picChg chg="add del mod topLvl">
          <ac:chgData name="Mathias Richerzhagen" userId="061c65f5-fcc4-473b-b050-8f78d278d79d" providerId="ADAL" clId="{A842A9AE-2086-46D4-A66A-B6B8C4333E4F}" dt="2024-12-03T15:00:11.381" v="393" actId="478"/>
          <ac:picMkLst>
            <pc:docMk/>
            <pc:sldMk cId="3760869060" sldId="292"/>
            <ac:picMk id="47" creationId="{A8B51485-D228-6378-B650-46F956F18678}"/>
          </ac:picMkLst>
        </pc:picChg>
        <pc:picChg chg="add mod">
          <ac:chgData name="Mathias Richerzhagen" userId="061c65f5-fcc4-473b-b050-8f78d278d79d" providerId="ADAL" clId="{A842A9AE-2086-46D4-A66A-B6B8C4333E4F}" dt="2024-12-03T15:00:03.841" v="390"/>
          <ac:picMkLst>
            <pc:docMk/>
            <pc:sldMk cId="3760869060" sldId="292"/>
            <ac:picMk id="49" creationId="{FABC907A-B6DB-EB3B-D36E-6A524E5ADB6A}"/>
          </ac:picMkLst>
        </pc:picChg>
        <pc:picChg chg="add mod">
          <ac:chgData name="Mathias Richerzhagen" userId="061c65f5-fcc4-473b-b050-8f78d278d79d" providerId="ADAL" clId="{A842A9AE-2086-46D4-A66A-B6B8C4333E4F}" dt="2024-12-03T15:08:49.705" v="686" actId="1076"/>
          <ac:picMkLst>
            <pc:docMk/>
            <pc:sldMk cId="3760869060" sldId="292"/>
            <ac:picMk id="50" creationId="{8FB7FDBA-7D55-5464-B49A-1B105C9A6B73}"/>
          </ac:picMkLst>
        </pc:picChg>
        <pc:picChg chg="del mod topLvl">
          <ac:chgData name="Mathias Richerzhagen" userId="061c65f5-fcc4-473b-b050-8f78d278d79d" providerId="ADAL" clId="{A842A9AE-2086-46D4-A66A-B6B8C4333E4F}" dt="2024-12-03T15:01:40.741" v="429" actId="478"/>
          <ac:picMkLst>
            <pc:docMk/>
            <pc:sldMk cId="3760869060" sldId="292"/>
            <ac:picMk id="56" creationId="{69C43D9A-5FA3-8957-D5D2-89392DF24C03}"/>
          </ac:picMkLst>
        </pc:picChg>
        <pc:picChg chg="add mod">
          <ac:chgData name="Mathias Richerzhagen" userId="061c65f5-fcc4-473b-b050-8f78d278d79d" providerId="ADAL" clId="{A842A9AE-2086-46D4-A66A-B6B8C4333E4F}" dt="2024-12-03T15:08:49.705" v="686" actId="1076"/>
          <ac:picMkLst>
            <pc:docMk/>
            <pc:sldMk cId="3760869060" sldId="292"/>
            <ac:picMk id="58" creationId="{E9741674-D761-A5F4-BBB4-DB0737E65C1A}"/>
          </ac:picMkLst>
        </pc:picChg>
        <pc:cxnChg chg="add del mod">
          <ac:chgData name="Mathias Richerzhagen" userId="061c65f5-fcc4-473b-b050-8f78d278d79d" providerId="ADAL" clId="{A842A9AE-2086-46D4-A66A-B6B8C4333E4F}" dt="2024-12-03T14:56:41.414" v="326" actId="478"/>
          <ac:cxnSpMkLst>
            <pc:docMk/>
            <pc:sldMk cId="3760869060" sldId="292"/>
            <ac:cxnSpMk id="22" creationId="{94AEBF8F-6E4B-4A4C-AA49-3253D47C5FA7}"/>
          </ac:cxnSpMkLst>
        </pc:cxnChg>
        <pc:cxnChg chg="add del mod">
          <ac:chgData name="Mathias Richerzhagen" userId="061c65f5-fcc4-473b-b050-8f78d278d79d" providerId="ADAL" clId="{A842A9AE-2086-46D4-A66A-B6B8C4333E4F}" dt="2024-12-03T14:56:40.951" v="325" actId="478"/>
          <ac:cxnSpMkLst>
            <pc:docMk/>
            <pc:sldMk cId="3760869060" sldId="292"/>
            <ac:cxnSpMk id="23" creationId="{254F5FBA-7D7C-41B7-8DFB-0D5D84B4BE3A}"/>
          </ac:cxnSpMkLst>
        </pc:cxnChg>
        <pc:cxnChg chg="add del mod">
          <ac:chgData name="Mathias Richerzhagen" userId="061c65f5-fcc4-473b-b050-8f78d278d79d" providerId="ADAL" clId="{A842A9AE-2086-46D4-A66A-B6B8C4333E4F}" dt="2024-12-03T14:56:40.294" v="324" actId="478"/>
          <ac:cxnSpMkLst>
            <pc:docMk/>
            <pc:sldMk cId="3760869060" sldId="292"/>
            <ac:cxnSpMk id="24" creationId="{13329DEA-1B56-43AD-B3B8-AC5A3901BC66}"/>
          </ac:cxnSpMkLst>
        </pc:cxnChg>
        <pc:cxnChg chg="add del mod">
          <ac:chgData name="Mathias Richerzhagen" userId="061c65f5-fcc4-473b-b050-8f78d278d79d" providerId="ADAL" clId="{A842A9AE-2086-46D4-A66A-B6B8C4333E4F}" dt="2024-12-03T14:57:59.511" v="345" actId="478"/>
          <ac:cxnSpMkLst>
            <pc:docMk/>
            <pc:sldMk cId="3760869060" sldId="292"/>
            <ac:cxnSpMk id="26" creationId="{F92586C8-32E7-4289-AE9C-41B615CCC3F2}"/>
          </ac:cxnSpMkLst>
        </pc:cxnChg>
        <pc:cxnChg chg="add del mod">
          <ac:chgData name="Mathias Richerzhagen" userId="061c65f5-fcc4-473b-b050-8f78d278d79d" providerId="ADAL" clId="{A842A9AE-2086-46D4-A66A-B6B8C4333E4F}" dt="2024-12-03T15:03:16.949" v="532" actId="478"/>
          <ac:cxnSpMkLst>
            <pc:docMk/>
            <pc:sldMk cId="3760869060" sldId="292"/>
            <ac:cxnSpMk id="61" creationId="{4814D2F1-6402-B85C-986F-03C1226F7FF9}"/>
          </ac:cxnSpMkLst>
        </pc:cxnChg>
        <pc:cxnChg chg="add del mod">
          <ac:chgData name="Mathias Richerzhagen" userId="061c65f5-fcc4-473b-b050-8f78d278d79d" providerId="ADAL" clId="{A842A9AE-2086-46D4-A66A-B6B8C4333E4F}" dt="2024-12-03T15:03:16.374" v="531" actId="478"/>
          <ac:cxnSpMkLst>
            <pc:docMk/>
            <pc:sldMk cId="3760869060" sldId="292"/>
            <ac:cxnSpMk id="62" creationId="{E0863755-C243-1934-5FD2-6D6C08E47FA9}"/>
          </ac:cxnSpMkLst>
        </pc:cxnChg>
        <pc:cxnChg chg="add del mod">
          <ac:chgData name="Mathias Richerzhagen" userId="061c65f5-fcc4-473b-b050-8f78d278d79d" providerId="ADAL" clId="{A842A9AE-2086-46D4-A66A-B6B8C4333E4F}" dt="2024-12-03T15:03:15.621" v="530" actId="478"/>
          <ac:cxnSpMkLst>
            <pc:docMk/>
            <pc:sldMk cId="3760869060" sldId="292"/>
            <ac:cxnSpMk id="65" creationId="{279A4F81-07D2-254D-EEE2-EB9DA163F8B7}"/>
          </ac:cxnSpMkLst>
        </pc:cxnChg>
        <pc:cxnChg chg="add mod">
          <ac:chgData name="Mathias Richerzhagen" userId="061c65f5-fcc4-473b-b050-8f78d278d79d" providerId="ADAL" clId="{A842A9AE-2086-46D4-A66A-B6B8C4333E4F}" dt="2024-12-03T15:10:54.859" v="771" actId="14100"/>
          <ac:cxnSpMkLst>
            <pc:docMk/>
            <pc:sldMk cId="3760869060" sldId="292"/>
            <ac:cxnSpMk id="69" creationId="{42489404-D253-DCA5-6DAA-59442D97E314}"/>
          </ac:cxnSpMkLst>
        </pc:cxnChg>
        <pc:cxnChg chg="add mod">
          <ac:chgData name="Mathias Richerzhagen" userId="061c65f5-fcc4-473b-b050-8f78d278d79d" providerId="ADAL" clId="{A842A9AE-2086-46D4-A66A-B6B8C4333E4F}" dt="2024-12-03T15:08:49.705" v="686" actId="1076"/>
          <ac:cxnSpMkLst>
            <pc:docMk/>
            <pc:sldMk cId="3760869060" sldId="292"/>
            <ac:cxnSpMk id="71" creationId="{9F6ADE63-56E7-8921-1A12-08ECC313999F}"/>
          </ac:cxnSpMkLst>
        </pc:cxnChg>
        <pc:cxnChg chg="add mod">
          <ac:chgData name="Mathias Richerzhagen" userId="061c65f5-fcc4-473b-b050-8f78d278d79d" providerId="ADAL" clId="{A842A9AE-2086-46D4-A66A-B6B8C4333E4F}" dt="2024-12-03T15:08:49.705" v="686" actId="1076"/>
          <ac:cxnSpMkLst>
            <pc:docMk/>
            <pc:sldMk cId="3760869060" sldId="292"/>
            <ac:cxnSpMk id="74" creationId="{746863BB-A9CB-99F0-84B0-071FB8B85485}"/>
          </ac:cxnSpMkLst>
        </pc:cxnChg>
        <pc:cxnChg chg="add mod">
          <ac:chgData name="Mathias Richerzhagen" userId="061c65f5-fcc4-473b-b050-8f78d278d79d" providerId="ADAL" clId="{A842A9AE-2086-46D4-A66A-B6B8C4333E4F}" dt="2024-12-03T15:04:38.746" v="555"/>
          <ac:cxnSpMkLst>
            <pc:docMk/>
            <pc:sldMk cId="3760869060" sldId="292"/>
            <ac:cxnSpMk id="77" creationId="{915550C6-D039-85F2-D949-718E416AC198}"/>
          </ac:cxnSpMkLst>
        </pc:cxnChg>
        <pc:cxnChg chg="add del mod">
          <ac:chgData name="Mathias Richerzhagen" userId="061c65f5-fcc4-473b-b050-8f78d278d79d" providerId="ADAL" clId="{A842A9AE-2086-46D4-A66A-B6B8C4333E4F}" dt="2024-12-03T15:12:06.744" v="790" actId="478"/>
          <ac:cxnSpMkLst>
            <pc:docMk/>
            <pc:sldMk cId="3760869060" sldId="292"/>
            <ac:cxnSpMk id="80" creationId="{BCA289DD-9F99-86C8-0A99-00ACCDE883D0}"/>
          </ac:cxnSpMkLst>
        </pc:cxnChg>
        <pc:cxnChg chg="add del mod">
          <ac:chgData name="Mathias Richerzhagen" userId="061c65f5-fcc4-473b-b050-8f78d278d79d" providerId="ADAL" clId="{A842A9AE-2086-46D4-A66A-B6B8C4333E4F}" dt="2024-12-03T15:12:05.894" v="789" actId="478"/>
          <ac:cxnSpMkLst>
            <pc:docMk/>
            <pc:sldMk cId="3760869060" sldId="292"/>
            <ac:cxnSpMk id="83" creationId="{D0F15F77-881D-0A2D-74F2-ADAA0D1F4AD1}"/>
          </ac:cxnSpMkLst>
        </pc:cxnChg>
        <pc:cxnChg chg="add del mod">
          <ac:chgData name="Mathias Richerzhagen" userId="061c65f5-fcc4-473b-b050-8f78d278d79d" providerId="ADAL" clId="{A842A9AE-2086-46D4-A66A-B6B8C4333E4F}" dt="2024-12-03T15:12:08.600" v="793" actId="478"/>
          <ac:cxnSpMkLst>
            <pc:docMk/>
            <pc:sldMk cId="3760869060" sldId="292"/>
            <ac:cxnSpMk id="90" creationId="{0056BA56-766F-A118-587C-3610B321C876}"/>
          </ac:cxnSpMkLst>
        </pc:cxnChg>
        <pc:cxnChg chg="add del mod">
          <ac:chgData name="Mathias Richerzhagen" userId="061c65f5-fcc4-473b-b050-8f78d278d79d" providerId="ADAL" clId="{A842A9AE-2086-46D4-A66A-B6B8C4333E4F}" dt="2024-12-03T15:12:04.653" v="787" actId="478"/>
          <ac:cxnSpMkLst>
            <pc:docMk/>
            <pc:sldMk cId="3760869060" sldId="292"/>
            <ac:cxnSpMk id="92" creationId="{9E280606-B1EE-337B-CAF4-D5A6FC4EB261}"/>
          </ac:cxnSpMkLst>
        </pc:cxnChg>
        <pc:cxnChg chg="add del mod">
          <ac:chgData name="Mathias Richerzhagen" userId="061c65f5-fcc4-473b-b050-8f78d278d79d" providerId="ADAL" clId="{A842A9AE-2086-46D4-A66A-B6B8C4333E4F}" dt="2024-12-03T15:12:09.096" v="794" actId="478"/>
          <ac:cxnSpMkLst>
            <pc:docMk/>
            <pc:sldMk cId="3760869060" sldId="292"/>
            <ac:cxnSpMk id="95" creationId="{89E7BC72-DAFA-4BEA-6D57-D0F4E4386718}"/>
          </ac:cxnSpMkLst>
        </pc:cxnChg>
        <pc:cxnChg chg="add del mod">
          <ac:chgData name="Mathias Richerzhagen" userId="061c65f5-fcc4-473b-b050-8f78d278d79d" providerId="ADAL" clId="{A842A9AE-2086-46D4-A66A-B6B8C4333E4F}" dt="2024-12-03T15:12:09.671" v="795" actId="478"/>
          <ac:cxnSpMkLst>
            <pc:docMk/>
            <pc:sldMk cId="3760869060" sldId="292"/>
            <ac:cxnSpMk id="99" creationId="{E3013DCA-2544-5DCB-FCD5-D9470B07A74F}"/>
          </ac:cxnSpMkLst>
        </pc:cxnChg>
        <pc:cxnChg chg="add mod">
          <ac:chgData name="Mathias Richerzhagen" userId="061c65f5-fcc4-473b-b050-8f78d278d79d" providerId="ADAL" clId="{A842A9AE-2086-46D4-A66A-B6B8C4333E4F}" dt="2024-12-03T15:11:15.735" v="778" actId="1076"/>
          <ac:cxnSpMkLst>
            <pc:docMk/>
            <pc:sldMk cId="3760869060" sldId="292"/>
            <ac:cxnSpMk id="112" creationId="{3CB6FCC5-4C8C-E4AF-16F7-A1CCA98369B5}"/>
          </ac:cxnSpMkLst>
        </pc:cxnChg>
        <pc:cxnChg chg="add mod">
          <ac:chgData name="Mathias Richerzhagen" userId="061c65f5-fcc4-473b-b050-8f78d278d79d" providerId="ADAL" clId="{A842A9AE-2086-46D4-A66A-B6B8C4333E4F}" dt="2024-12-03T15:11:21.503" v="780" actId="1076"/>
          <ac:cxnSpMkLst>
            <pc:docMk/>
            <pc:sldMk cId="3760869060" sldId="292"/>
            <ac:cxnSpMk id="121" creationId="{C59BD8D8-1C4B-659D-F30A-DFF9B451224F}"/>
          </ac:cxnSpMkLst>
        </pc:cxnChg>
        <pc:cxnChg chg="add mod">
          <ac:chgData name="Mathias Richerzhagen" userId="061c65f5-fcc4-473b-b050-8f78d278d79d" providerId="ADAL" clId="{A842A9AE-2086-46D4-A66A-B6B8C4333E4F}" dt="2024-12-03T15:11:28.446" v="782" actId="1076"/>
          <ac:cxnSpMkLst>
            <pc:docMk/>
            <pc:sldMk cId="3760869060" sldId="292"/>
            <ac:cxnSpMk id="122" creationId="{1A91604C-9E34-0F00-4E59-EF237815F46A}"/>
          </ac:cxnSpMkLst>
        </pc:cxnChg>
      </pc:sldChg>
      <pc:sldChg chg="addSp delSp modSp add mod">
        <pc:chgData name="Mathias Richerzhagen" userId="061c65f5-fcc4-473b-b050-8f78d278d79d" providerId="ADAL" clId="{A842A9AE-2086-46D4-A66A-B6B8C4333E4F}" dt="2024-12-03T15:16:55.430" v="917" actId="20577"/>
        <pc:sldMkLst>
          <pc:docMk/>
          <pc:sldMk cId="2324478167" sldId="293"/>
        </pc:sldMkLst>
        <pc:spChg chg="mod">
          <ac:chgData name="Mathias Richerzhagen" userId="061c65f5-fcc4-473b-b050-8f78d278d79d" providerId="ADAL" clId="{A842A9AE-2086-46D4-A66A-B6B8C4333E4F}" dt="2024-12-03T15:16:55.430" v="917" actId="20577"/>
          <ac:spMkLst>
            <pc:docMk/>
            <pc:sldMk cId="2324478167" sldId="293"/>
            <ac:spMk id="2" creationId="{94159FCD-162A-14F4-2206-6FA37010D013}"/>
          </ac:spMkLst>
        </pc:spChg>
        <pc:spChg chg="del mod">
          <ac:chgData name="Mathias Richerzhagen" userId="061c65f5-fcc4-473b-b050-8f78d278d79d" providerId="ADAL" clId="{A842A9AE-2086-46D4-A66A-B6B8C4333E4F}" dt="2024-12-03T15:14:32.808" v="861" actId="478"/>
          <ac:spMkLst>
            <pc:docMk/>
            <pc:sldMk cId="2324478167" sldId="293"/>
            <ac:spMk id="8" creationId="{C73DD3E3-6FD1-6B19-7946-E57272EC766D}"/>
          </ac:spMkLst>
        </pc:spChg>
        <pc:spChg chg="mod topLvl">
          <ac:chgData name="Mathias Richerzhagen" userId="061c65f5-fcc4-473b-b050-8f78d278d79d" providerId="ADAL" clId="{A842A9AE-2086-46D4-A66A-B6B8C4333E4F}" dt="2024-12-03T15:16:39.204" v="908" actId="164"/>
          <ac:spMkLst>
            <pc:docMk/>
            <pc:sldMk cId="2324478167" sldId="293"/>
            <ac:spMk id="9" creationId="{27573239-8094-5926-D9FA-EC57ECA0AF90}"/>
          </ac:spMkLst>
        </pc:spChg>
        <pc:spChg chg="mod ord topLvl">
          <ac:chgData name="Mathias Richerzhagen" userId="061c65f5-fcc4-473b-b050-8f78d278d79d" providerId="ADAL" clId="{A842A9AE-2086-46D4-A66A-B6B8C4333E4F}" dt="2024-12-03T15:16:39.204" v="908" actId="164"/>
          <ac:spMkLst>
            <pc:docMk/>
            <pc:sldMk cId="2324478167" sldId="293"/>
            <ac:spMk id="11" creationId="{BE60AE51-04C4-73BC-6511-60A124DF1AA6}"/>
          </ac:spMkLst>
        </pc:spChg>
        <pc:spChg chg="mod">
          <ac:chgData name="Mathias Richerzhagen" userId="061c65f5-fcc4-473b-b050-8f78d278d79d" providerId="ADAL" clId="{A842A9AE-2086-46D4-A66A-B6B8C4333E4F}" dt="2024-12-03T15:14:06.939" v="834" actId="20577"/>
          <ac:spMkLst>
            <pc:docMk/>
            <pc:sldMk cId="2324478167" sldId="293"/>
            <ac:spMk id="31" creationId="{B38A6242-F426-4A77-8BFB-CEFF1898C45A}"/>
          </ac:spMkLst>
        </pc:spChg>
        <pc:spChg chg="mod">
          <ac:chgData name="Mathias Richerzhagen" userId="061c65f5-fcc4-473b-b050-8f78d278d79d" providerId="ADAL" clId="{A842A9AE-2086-46D4-A66A-B6B8C4333E4F}" dt="2024-12-03T15:12:47.420" v="823" actId="207"/>
          <ac:spMkLst>
            <pc:docMk/>
            <pc:sldMk cId="2324478167" sldId="293"/>
            <ac:spMk id="78" creationId="{A1B70174-00CB-2009-F32E-BD143E2C193E}"/>
          </ac:spMkLst>
        </pc:spChg>
        <pc:spChg chg="mod">
          <ac:chgData name="Mathias Richerzhagen" userId="061c65f5-fcc4-473b-b050-8f78d278d79d" providerId="ADAL" clId="{A842A9AE-2086-46D4-A66A-B6B8C4333E4F}" dt="2024-12-03T15:12:47.420" v="823" actId="207"/>
          <ac:spMkLst>
            <pc:docMk/>
            <pc:sldMk cId="2324478167" sldId="293"/>
            <ac:spMk id="79" creationId="{E6452FB4-3C6D-0110-C054-4C5EE9FCD026}"/>
          </ac:spMkLst>
        </pc:spChg>
        <pc:spChg chg="mod">
          <ac:chgData name="Mathias Richerzhagen" userId="061c65f5-fcc4-473b-b050-8f78d278d79d" providerId="ADAL" clId="{A842A9AE-2086-46D4-A66A-B6B8C4333E4F}" dt="2024-12-03T15:14:01.871" v="833" actId="1076"/>
          <ac:spMkLst>
            <pc:docMk/>
            <pc:sldMk cId="2324478167" sldId="293"/>
            <ac:spMk id="86" creationId="{32F63201-46F5-0B09-993D-A7A912E97536}"/>
          </ac:spMkLst>
        </pc:spChg>
        <pc:spChg chg="mod">
          <ac:chgData name="Mathias Richerzhagen" userId="061c65f5-fcc4-473b-b050-8f78d278d79d" providerId="ADAL" clId="{A842A9AE-2086-46D4-A66A-B6B8C4333E4F}" dt="2024-12-03T15:12:47.420" v="823" actId="207"/>
          <ac:spMkLst>
            <pc:docMk/>
            <pc:sldMk cId="2324478167" sldId="293"/>
            <ac:spMk id="87" creationId="{42A19244-8133-EDAA-8081-0156CFCE842A}"/>
          </ac:spMkLst>
        </pc:spChg>
        <pc:spChg chg="mod">
          <ac:chgData name="Mathias Richerzhagen" userId="061c65f5-fcc4-473b-b050-8f78d278d79d" providerId="ADAL" clId="{A842A9AE-2086-46D4-A66A-B6B8C4333E4F}" dt="2024-12-03T15:14:16.327" v="836" actId="1076"/>
          <ac:spMkLst>
            <pc:docMk/>
            <pc:sldMk cId="2324478167" sldId="293"/>
            <ac:spMk id="88" creationId="{86E519CE-62F4-35F3-9328-E955D8A39AB4}"/>
          </ac:spMkLst>
        </pc:spChg>
        <pc:spChg chg="mod">
          <ac:chgData name="Mathias Richerzhagen" userId="061c65f5-fcc4-473b-b050-8f78d278d79d" providerId="ADAL" clId="{A842A9AE-2086-46D4-A66A-B6B8C4333E4F}" dt="2024-12-03T15:16:46.536" v="913" actId="1038"/>
          <ac:spMkLst>
            <pc:docMk/>
            <pc:sldMk cId="2324478167" sldId="293"/>
            <ac:spMk id="89" creationId="{4DEE5645-6FB4-448D-1AB3-EA07295B6AE7}"/>
          </ac:spMkLst>
        </pc:spChg>
        <pc:grpChg chg="add del mod">
          <ac:chgData name="Mathias Richerzhagen" userId="061c65f5-fcc4-473b-b050-8f78d278d79d" providerId="ADAL" clId="{A842A9AE-2086-46D4-A66A-B6B8C4333E4F}" dt="2024-12-03T15:16:02.629" v="883" actId="165"/>
          <ac:grpSpMkLst>
            <pc:docMk/>
            <pc:sldMk cId="2324478167" sldId="293"/>
            <ac:grpSpMk id="7" creationId="{0923BE99-7855-DF2B-6465-E52C4AE2E1FF}"/>
          </ac:grpSpMkLst>
        </pc:grpChg>
        <pc:grpChg chg="add mod">
          <ac:chgData name="Mathias Richerzhagen" userId="061c65f5-fcc4-473b-b050-8f78d278d79d" providerId="ADAL" clId="{A842A9AE-2086-46D4-A66A-B6B8C4333E4F}" dt="2024-12-03T15:16:39.204" v="908" actId="164"/>
          <ac:grpSpMkLst>
            <pc:docMk/>
            <pc:sldMk cId="2324478167" sldId="293"/>
            <ac:grpSpMk id="14" creationId="{2CAF32C4-392B-0B6E-FC64-8B8FAFFE6169}"/>
          </ac:grpSpMkLst>
        </pc:grpChg>
        <pc:picChg chg="del mod">
          <ac:chgData name="Mathias Richerzhagen" userId="061c65f5-fcc4-473b-b050-8f78d278d79d" providerId="ADAL" clId="{A842A9AE-2086-46D4-A66A-B6B8C4333E4F}" dt="2024-12-03T15:14:59.274" v="864" actId="478"/>
          <ac:picMkLst>
            <pc:docMk/>
            <pc:sldMk cId="2324478167" sldId="293"/>
            <ac:picMk id="10" creationId="{50C815F5-4336-BE2D-408F-FBF4FADD3684}"/>
          </ac:picMkLst>
        </pc:picChg>
        <pc:picChg chg="add mod">
          <ac:chgData name="Mathias Richerzhagen" userId="061c65f5-fcc4-473b-b050-8f78d278d79d" providerId="ADAL" clId="{A842A9AE-2086-46D4-A66A-B6B8C4333E4F}" dt="2024-12-03T15:16:39.204" v="908" actId="164"/>
          <ac:picMkLst>
            <pc:docMk/>
            <pc:sldMk cId="2324478167" sldId="293"/>
            <ac:picMk id="4098" creationId="{5141CF52-0842-0135-A0DD-56C504ACFC8D}"/>
          </ac:picMkLst>
        </pc:picChg>
        <pc:cxnChg chg="mod">
          <ac:chgData name="Mathias Richerzhagen" userId="061c65f5-fcc4-473b-b050-8f78d278d79d" providerId="ADAL" clId="{A842A9AE-2086-46D4-A66A-B6B8C4333E4F}" dt="2024-12-03T15:14:11.399" v="835" actId="14100"/>
          <ac:cxnSpMkLst>
            <pc:docMk/>
            <pc:sldMk cId="2324478167" sldId="293"/>
            <ac:cxnSpMk id="90" creationId="{0056BA56-766F-A118-587C-3610B321C876}"/>
          </ac:cxnSpMkLst>
        </pc:cxnChg>
        <pc:cxnChg chg="mod">
          <ac:chgData name="Mathias Richerzhagen" userId="061c65f5-fcc4-473b-b050-8f78d278d79d" providerId="ADAL" clId="{A842A9AE-2086-46D4-A66A-B6B8C4333E4F}" dt="2024-12-03T15:14:18.901" v="837" actId="14100"/>
          <ac:cxnSpMkLst>
            <pc:docMk/>
            <pc:sldMk cId="2324478167" sldId="293"/>
            <ac:cxnSpMk id="95" creationId="{89E7BC72-DAFA-4BEA-6D57-D0F4E4386718}"/>
          </ac:cxnSpMkLst>
        </pc:cxnChg>
        <pc:cxnChg chg="mod">
          <ac:chgData name="Mathias Richerzhagen" userId="061c65f5-fcc4-473b-b050-8f78d278d79d" providerId="ADAL" clId="{A842A9AE-2086-46D4-A66A-B6B8C4333E4F}" dt="2024-12-03T15:16:46.536" v="913" actId="1038"/>
          <ac:cxnSpMkLst>
            <pc:docMk/>
            <pc:sldMk cId="2324478167" sldId="293"/>
            <ac:cxnSpMk id="99" creationId="{E3013DCA-2544-5DCB-FCD5-D9470B07A74F}"/>
          </ac:cxnSpMkLst>
        </pc:cxnChg>
      </pc:sldChg>
      <pc:sldChg chg="modSp add mod">
        <pc:chgData name="Mathias Richerzhagen" userId="061c65f5-fcc4-473b-b050-8f78d278d79d" providerId="ADAL" clId="{A842A9AE-2086-46D4-A66A-B6B8C4333E4F}" dt="2024-12-03T15:22:10.490" v="1070" actId="20577"/>
        <pc:sldMkLst>
          <pc:docMk/>
          <pc:sldMk cId="1372010720" sldId="294"/>
        </pc:sldMkLst>
        <pc:spChg chg="mod">
          <ac:chgData name="Mathias Richerzhagen" userId="061c65f5-fcc4-473b-b050-8f78d278d79d" providerId="ADAL" clId="{A842A9AE-2086-46D4-A66A-B6B8C4333E4F}" dt="2024-12-03T15:22:10.490" v="1070" actId="20577"/>
          <ac:spMkLst>
            <pc:docMk/>
            <pc:sldMk cId="1372010720" sldId="294"/>
            <ac:spMk id="2" creationId="{94159FCD-162A-14F4-2206-6FA37010D013}"/>
          </ac:spMkLst>
        </pc:spChg>
      </pc:sldChg>
      <pc:sldChg chg="modSp add mod">
        <pc:chgData name="Mathias Richerzhagen" userId="061c65f5-fcc4-473b-b050-8f78d278d79d" providerId="ADAL" clId="{A842A9AE-2086-46D4-A66A-B6B8C4333E4F}" dt="2024-12-03T15:21:22.295" v="1019" actId="20577"/>
        <pc:sldMkLst>
          <pc:docMk/>
          <pc:sldMk cId="2955577737" sldId="295"/>
        </pc:sldMkLst>
        <pc:spChg chg="mod">
          <ac:chgData name="Mathias Richerzhagen" userId="061c65f5-fcc4-473b-b050-8f78d278d79d" providerId="ADAL" clId="{A842A9AE-2086-46D4-A66A-B6B8C4333E4F}" dt="2024-12-03T15:21:22.295" v="1019" actId="20577"/>
          <ac:spMkLst>
            <pc:docMk/>
            <pc:sldMk cId="2955577737" sldId="295"/>
            <ac:spMk id="2" creationId="{94159FCD-162A-14F4-2206-6FA37010D013}"/>
          </ac:spMkLst>
        </pc:spChg>
      </pc:sldChg>
      <pc:sldChg chg="modSp add mod">
        <pc:chgData name="Mathias Richerzhagen" userId="061c65f5-fcc4-473b-b050-8f78d278d79d" providerId="ADAL" clId="{A842A9AE-2086-46D4-A66A-B6B8C4333E4F}" dt="2024-12-03T15:21:35.774" v="1042" actId="20577"/>
        <pc:sldMkLst>
          <pc:docMk/>
          <pc:sldMk cId="90207519" sldId="296"/>
        </pc:sldMkLst>
        <pc:spChg chg="mod">
          <ac:chgData name="Mathias Richerzhagen" userId="061c65f5-fcc4-473b-b050-8f78d278d79d" providerId="ADAL" clId="{A842A9AE-2086-46D4-A66A-B6B8C4333E4F}" dt="2024-12-03T15:21:35.774" v="1042" actId="20577"/>
          <ac:spMkLst>
            <pc:docMk/>
            <pc:sldMk cId="90207519" sldId="296"/>
            <ac:spMk id="2" creationId="{94159FCD-162A-14F4-2206-6FA37010D013}"/>
          </ac:spMkLst>
        </pc:spChg>
      </pc:sldChg>
      <pc:sldChg chg="modSp add mod">
        <pc:chgData name="Mathias Richerzhagen" userId="061c65f5-fcc4-473b-b050-8f78d278d79d" providerId="ADAL" clId="{A842A9AE-2086-46D4-A66A-B6B8C4333E4F}" dt="2024-12-03T15:21:44.001" v="1050" actId="20577"/>
        <pc:sldMkLst>
          <pc:docMk/>
          <pc:sldMk cId="199995880" sldId="297"/>
        </pc:sldMkLst>
        <pc:spChg chg="mod">
          <ac:chgData name="Mathias Richerzhagen" userId="061c65f5-fcc4-473b-b050-8f78d278d79d" providerId="ADAL" clId="{A842A9AE-2086-46D4-A66A-B6B8C4333E4F}" dt="2024-12-03T15:21:44.001" v="1050" actId="20577"/>
          <ac:spMkLst>
            <pc:docMk/>
            <pc:sldMk cId="199995880" sldId="297"/>
            <ac:spMk id="2" creationId="{94159FCD-162A-14F4-2206-6FA37010D013}"/>
          </ac:spMkLst>
        </pc:spChg>
      </pc:sldChg>
      <pc:sldChg chg="modSp add mod">
        <pc:chgData name="Mathias Richerzhagen" userId="061c65f5-fcc4-473b-b050-8f78d278d79d" providerId="ADAL" clId="{A842A9AE-2086-46D4-A66A-B6B8C4333E4F}" dt="2024-12-03T15:23:00.772" v="1104" actId="20577"/>
        <pc:sldMkLst>
          <pc:docMk/>
          <pc:sldMk cId="866974194" sldId="298"/>
        </pc:sldMkLst>
        <pc:spChg chg="mod">
          <ac:chgData name="Mathias Richerzhagen" userId="061c65f5-fcc4-473b-b050-8f78d278d79d" providerId="ADAL" clId="{A842A9AE-2086-46D4-A66A-B6B8C4333E4F}" dt="2024-12-03T15:23:00.772" v="1104" actId="20577"/>
          <ac:spMkLst>
            <pc:docMk/>
            <pc:sldMk cId="866974194" sldId="298"/>
            <ac:spMk id="2" creationId="{94159FCD-162A-14F4-2206-6FA37010D013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62189C-3680-4E34-AEC6-9D75DCBF6EAC}" type="datetimeFigureOut">
              <a:rPr lang="de-CH" smtClean="0"/>
              <a:t>06.12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1E3F41-BE06-4DE3-A191-16FB7717111A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5328123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2.pn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Relationship Id="rId9" Type="http://schemas.openxmlformats.org/officeDocument/2006/relationships/image" Target="../media/image3.svg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2.pn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8.png"/><Relationship Id="rId4" Type="http://schemas.openxmlformats.org/officeDocument/2006/relationships/image" Target="../media/image3.svg"/><Relationship Id="rId9" Type="http://schemas.openxmlformats.org/officeDocument/2006/relationships/image" Target="../media/image11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903B410E-C319-D1E1-C0AC-8ACB67A99E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39845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903B410E-C319-D1E1-C0AC-8ACB67A99E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956317E-20F6-4DD1-F84D-E40AE39EE33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37847" y="1577975"/>
            <a:ext cx="10316307" cy="1539299"/>
          </a:xfrm>
        </p:spPr>
        <p:txBody>
          <a:bodyPr vert="horz" anchor="b"/>
          <a:lstStyle>
            <a:lvl1pPr algn="ctr">
              <a:lnSpc>
                <a:spcPct val="100000"/>
              </a:lnSpc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Title of your presentatio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A7200802-0D82-2861-8BEB-447967F556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37847" y="3740726"/>
            <a:ext cx="10316307" cy="1526309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2400" b="0" i="1">
                <a:solidFill>
                  <a:schemeClr val="tx2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buNone/>
              <a:defRPr sz="2400" b="0" i="1">
                <a:solidFill>
                  <a:schemeClr val="tx2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buNone/>
              <a:defRPr sz="2400" b="0" i="1">
                <a:solidFill>
                  <a:schemeClr val="tx2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buNone/>
              <a:defRPr sz="2400" b="0" i="1">
                <a:solidFill>
                  <a:schemeClr val="tx2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buNone/>
              <a:defRPr sz="2400" b="0" i="1">
                <a:solidFill>
                  <a:schemeClr val="tx2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buNone/>
              <a:defRPr sz="2400" b="0" i="1">
                <a:solidFill>
                  <a:schemeClr val="tx2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buNone/>
              <a:defRPr sz="2400" b="0" i="1">
                <a:solidFill>
                  <a:schemeClr val="tx2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buNone/>
              <a:defRPr sz="2400" b="0" i="1">
                <a:solidFill>
                  <a:schemeClr val="tx2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buNone/>
              <a:defRPr sz="2400" b="0" i="1">
                <a:solidFill>
                  <a:schemeClr val="tx2"/>
                </a:solidFill>
                <a:latin typeface="+mn-lt"/>
              </a:defRPr>
            </a:lvl9pPr>
          </a:lstStyle>
          <a:p>
            <a:r>
              <a:rPr lang="en-GB" noProof="0" dirty="0"/>
              <a:t>Text</a:t>
            </a:r>
          </a:p>
        </p:txBody>
      </p:sp>
      <p:pic>
        <p:nvPicPr>
          <p:cNvPr id="9" name="Flags">
            <a:extLst>
              <a:ext uri="{FF2B5EF4-FFF2-40B4-BE49-F238E27FC236}">
                <a16:creationId xmlns:a16="http://schemas.microsoft.com/office/drawing/2014/main" id="{28A2FD6F-B5EB-75B2-792F-2B7BDB734F90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6204867"/>
            <a:ext cx="6097313" cy="184179"/>
          </a:xfrm>
          <a:prstGeom prst="rect">
            <a:avLst/>
          </a:prstGeom>
        </p:spPr>
      </p:pic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E0057D23-33FB-CFEA-DDE7-F0911EE720DC}"/>
              </a:ext>
            </a:extLst>
          </p:cNvPr>
          <p:cNvCxnSpPr/>
          <p:nvPr userDrawn="1"/>
        </p:nvCxnSpPr>
        <p:spPr>
          <a:xfrm>
            <a:off x="4692001" y="3429000"/>
            <a:ext cx="2808000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85087112-A224-964B-32E3-DF16AB75EF4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/>
              <a:t>13th MicroTCA Workshop for Industry and Research</a:t>
            </a:r>
            <a:endParaRPr lang="en-GB" i="1" noProof="0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37C03FF2-FBF1-A407-10B6-7EBD3ABCA89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1190336D-C8E3-3383-63E9-C4CCAAA1D7B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Data Classification: PUBLIC, ESO-605100_1</a:t>
            </a:r>
            <a:endParaRPr lang="en-GB" noProof="0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66D634B7-176B-801C-E816-2C762102BD8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251671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+WB UN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6A60C7E-39E9-51BE-1364-9C9302742C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line Arial bold, 30 p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FA90899-A4C8-752A-5D1C-111AA2B50FD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36624" y="2016000"/>
            <a:ext cx="10317600" cy="39053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 dirty="0"/>
              <a:t>Copy Arial, 18 pt</a:t>
            </a:r>
          </a:p>
          <a:p>
            <a:pPr lvl="1"/>
            <a:r>
              <a:rPr lang="en-GB" noProof="0" dirty="0"/>
              <a:t>First Bullet, 18 pt</a:t>
            </a:r>
          </a:p>
          <a:p>
            <a:pPr lvl="2"/>
            <a:r>
              <a:rPr lang="en-GB" noProof="0" dirty="0"/>
              <a:t>Second Bullet, 18 pt</a:t>
            </a:r>
          </a:p>
          <a:p>
            <a:pPr lvl="3"/>
            <a:r>
              <a:rPr lang="en-GB" noProof="0" dirty="0"/>
              <a:t>Subheading Arial bold, 18 pt</a:t>
            </a:r>
          </a:p>
          <a:p>
            <a:pPr lvl="4"/>
            <a:r>
              <a:rPr lang="en-GB" noProof="0" dirty="0"/>
              <a:t>Subheading Arial bold, 24 pt</a:t>
            </a:r>
          </a:p>
          <a:p>
            <a:pPr lvl="5"/>
            <a:r>
              <a:rPr lang="en-GB" noProof="0" dirty="0"/>
              <a:t>Quote, 24 pt, orange</a:t>
            </a:r>
          </a:p>
          <a:p>
            <a:pPr lvl="6"/>
            <a:r>
              <a:rPr lang="en-GB" noProof="0" dirty="0"/>
              <a:t>Copy Arial, 18 pt</a:t>
            </a:r>
          </a:p>
          <a:p>
            <a:pPr lvl="7"/>
            <a:r>
              <a:rPr lang="en-GB" noProof="0" dirty="0"/>
              <a:t>Copy Arial, 18 pt</a:t>
            </a:r>
          </a:p>
          <a:p>
            <a:pPr lvl="8"/>
            <a:r>
              <a:rPr lang="en-GB" noProof="0" dirty="0"/>
              <a:t>Copy Arial, 18 pt</a:t>
            </a:r>
          </a:p>
        </p:txBody>
      </p:sp>
      <p:sp>
        <p:nvSpPr>
          <p:cNvPr id="12" name="Untertitel 6">
            <a:extLst>
              <a:ext uri="{FF2B5EF4-FFF2-40B4-BE49-F238E27FC236}">
                <a16:creationId xmlns:a16="http://schemas.microsoft.com/office/drawing/2014/main" id="{3E0265B8-51ED-B319-D61E-D75878236E6F}"/>
              </a:ext>
            </a:extLst>
          </p:cNvPr>
          <p:cNvSpPr>
            <a:spLocks noGrp="1"/>
          </p:cNvSpPr>
          <p:nvPr>
            <p:ph type="subTitle" sz="quarter" idx="12" hasCustomPrompt="1"/>
          </p:nvPr>
        </p:nvSpPr>
        <p:spPr>
          <a:xfrm>
            <a:off x="936624" y="1296000"/>
            <a:ext cx="8910639" cy="28549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2pPr>
            <a:lvl3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3pPr>
            <a:lvl4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4pPr>
            <a:lvl5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5pPr>
            <a:lvl6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6pPr>
            <a:lvl7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7pPr>
            <a:lvl8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8pPr>
            <a:lvl9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9pPr>
          </a:lstStyle>
          <a:p>
            <a:r>
              <a:rPr lang="en-GB" noProof="0" dirty="0"/>
              <a:t>Headline add-on, Arial Italic, 18 pt, orang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EC29A70-B5A7-321C-D517-8E7C6FFAE33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noProof="0"/>
              <a:t>13th MicroTCA Workshop for Industry and Research</a:t>
            </a:r>
            <a:endParaRPr lang="en-GB" i="1" noProof="0" dirty="0"/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4A56F391-9E9D-5245-65CF-E3CFA03D574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941" y="3562303"/>
            <a:ext cx="5340817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Data Classification: PUBLIC, ESO-605100_1</a:t>
            </a:r>
            <a:endParaRPr lang="en-GB" noProof="0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4B59C018-FF84-C96B-EA76-19F07A39AD81}"/>
              </a:ext>
            </a:extLst>
          </p:cNvPr>
          <p:cNvSpPr txBox="1">
            <a:spLocks/>
          </p:cNvSpPr>
          <p:nvPr userDrawn="1"/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745134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T+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6A60C7E-39E9-51BE-1364-9C9302742C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line Arial bold, 30 p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6284B66-A11B-B3CA-B1F8-30C04E3981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36624" y="1577975"/>
            <a:ext cx="4924914" cy="43434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 dirty="0"/>
              <a:t>Copy Arial, 18 pt</a:t>
            </a:r>
          </a:p>
          <a:p>
            <a:pPr lvl="1"/>
            <a:r>
              <a:rPr lang="en-GB" noProof="0" dirty="0"/>
              <a:t>First Bullet, 18 pt</a:t>
            </a:r>
          </a:p>
          <a:p>
            <a:pPr lvl="2"/>
            <a:r>
              <a:rPr lang="en-GB" noProof="0" dirty="0"/>
              <a:t>Second Bullet, 18 pt</a:t>
            </a:r>
          </a:p>
          <a:p>
            <a:pPr lvl="3"/>
            <a:r>
              <a:rPr lang="en-GB" noProof="0" dirty="0"/>
              <a:t>Subheading Arial bold, 18 pt</a:t>
            </a:r>
          </a:p>
          <a:p>
            <a:pPr lvl="4"/>
            <a:r>
              <a:rPr lang="en-GB" noProof="0" dirty="0"/>
              <a:t>Subheading Arial bold, 24 pt</a:t>
            </a:r>
          </a:p>
          <a:p>
            <a:pPr lvl="5"/>
            <a:r>
              <a:rPr lang="en-GB" noProof="0" dirty="0"/>
              <a:t>Quote, 24 pt, orange</a:t>
            </a:r>
          </a:p>
          <a:p>
            <a:pPr lvl="6"/>
            <a:r>
              <a:rPr lang="en-GB" noProof="0" dirty="0"/>
              <a:t>Copy Arial, 18 pt</a:t>
            </a:r>
          </a:p>
          <a:p>
            <a:pPr lvl="7"/>
            <a:r>
              <a:rPr lang="en-GB" noProof="0" dirty="0"/>
              <a:t>Copy Arial, 18 pt</a:t>
            </a:r>
          </a:p>
          <a:p>
            <a:pPr lvl="8"/>
            <a:r>
              <a:rPr lang="en-GB" noProof="0" dirty="0"/>
              <a:t>Copy Arial, 18 pt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01EC199-87F9-4D50-EA60-C5E098191F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13th MicroTCA Workshop for Industry and Research</a:t>
            </a:r>
            <a:endParaRPr lang="en-GB" i="1" noProof="0" dirty="0"/>
          </a:p>
        </p:txBody>
      </p:sp>
      <p:sp>
        <p:nvSpPr>
          <p:cNvPr id="3" name="Textplatzhalter 6">
            <a:extLst>
              <a:ext uri="{FF2B5EF4-FFF2-40B4-BE49-F238E27FC236}">
                <a16:creationId xmlns:a16="http://schemas.microsoft.com/office/drawing/2014/main" id="{C434F63B-A1E3-D216-DA84-E887C211670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30461" y="1577975"/>
            <a:ext cx="4923692" cy="43434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 dirty="0"/>
              <a:t>Copy Arial, 18 pt</a:t>
            </a:r>
          </a:p>
          <a:p>
            <a:pPr lvl="1"/>
            <a:r>
              <a:rPr lang="en-GB" noProof="0" dirty="0"/>
              <a:t>First Bullet, 18 pt</a:t>
            </a:r>
          </a:p>
          <a:p>
            <a:pPr lvl="2"/>
            <a:r>
              <a:rPr lang="en-GB" noProof="0" dirty="0"/>
              <a:t>Second Bullet, 18 pt</a:t>
            </a:r>
          </a:p>
          <a:p>
            <a:pPr lvl="3"/>
            <a:r>
              <a:rPr lang="en-GB" noProof="0" dirty="0"/>
              <a:t>Subheading Arial bold, 18 pt</a:t>
            </a:r>
          </a:p>
          <a:p>
            <a:pPr lvl="4"/>
            <a:r>
              <a:rPr lang="en-GB" noProof="0" dirty="0"/>
              <a:t>Subheading Arial bold, 24 pt</a:t>
            </a:r>
          </a:p>
          <a:p>
            <a:pPr lvl="5"/>
            <a:r>
              <a:rPr lang="en-GB" noProof="0" dirty="0"/>
              <a:t>Quote, 24 pt, orange</a:t>
            </a:r>
          </a:p>
          <a:p>
            <a:pPr lvl="6"/>
            <a:r>
              <a:rPr lang="en-GB" noProof="0" dirty="0"/>
              <a:t>Copy Arial, 18 pt</a:t>
            </a:r>
          </a:p>
          <a:p>
            <a:pPr lvl="7"/>
            <a:r>
              <a:rPr lang="en-GB" noProof="0" dirty="0"/>
              <a:t>Copy Arial, 18 pt</a:t>
            </a:r>
          </a:p>
          <a:p>
            <a:pPr lvl="8"/>
            <a:r>
              <a:rPr lang="en-GB" noProof="0" dirty="0"/>
              <a:t>Copy Arial, 18 pt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A528556-886A-E522-20D7-EB82D68C374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20026" y="3572388"/>
            <a:ext cx="5320647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Data Classification: PUBLIC, ESO-605100_1</a:t>
            </a:r>
            <a:endParaRPr lang="en-GB" noProof="0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2E248BAE-D5A4-D471-F717-01AAD766CE3C}"/>
              </a:ext>
            </a:extLst>
          </p:cNvPr>
          <p:cNvSpPr txBox="1">
            <a:spLocks/>
          </p:cNvSpPr>
          <p:nvPr userDrawn="1"/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0050609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T_left+1I+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6A60C7E-39E9-51BE-1364-9C9302742C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line Arial bold, 30 pt</a:t>
            </a:r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39225FFE-1736-C769-3C9B-90F9955C624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36624" y="1575201"/>
            <a:ext cx="4924800" cy="3409928"/>
          </a:xfrm>
        </p:spPr>
        <p:txBody>
          <a:bodyPr/>
          <a:lstStyle>
            <a:lvl1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 algn="l">
              <a:lnSpc>
                <a:spcPct val="111000"/>
              </a:lnSpc>
              <a:spcBef>
                <a:spcPts val="120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11000"/>
              </a:lnSpc>
              <a:spcBef>
                <a:spcPts val="120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11000"/>
              </a:lnSpc>
              <a:spcBef>
                <a:spcPts val="120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11000"/>
              </a:lnSpc>
              <a:spcBef>
                <a:spcPts val="1200"/>
              </a:spcBef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1-Column Text, Arial, 18 pt, black</a:t>
            </a:r>
          </a:p>
          <a:p>
            <a:pPr lvl="1"/>
            <a:endParaRPr lang="de-DE" dirty="0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D8AB7825-9C31-FD53-E214-175558924D9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329354" y="1575201"/>
            <a:ext cx="4924800" cy="4346174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BDB5D0F4-A9C6-3CA4-DFA5-327FB4E85F1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36624" y="5160441"/>
            <a:ext cx="4924800" cy="792373"/>
          </a:xfrm>
        </p:spPr>
        <p:txBody>
          <a:bodyPr anchor="b"/>
          <a:lstStyle>
            <a:lvl1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25000"/>
              </a:lnSpc>
              <a:spcBef>
                <a:spcPts val="800"/>
              </a:spcBef>
              <a:buNone/>
              <a:defRPr sz="1500" b="0" i="1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25000"/>
              </a:lnSpc>
              <a:spcBef>
                <a:spcPts val="800"/>
              </a:spcBef>
              <a:buNone/>
              <a:defRPr sz="1500" b="0" i="1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25000"/>
              </a:lnSpc>
              <a:spcBef>
                <a:spcPts val="800"/>
              </a:spcBef>
              <a:buNone/>
              <a:defRPr sz="1500" b="0" i="1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25000"/>
              </a:lnSpc>
              <a:spcBef>
                <a:spcPts val="800"/>
              </a:spcBef>
              <a:buNone/>
              <a:defRPr sz="1500" b="0" i="1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Caption, Arial Italic, 15 pt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88CA990-B59C-346B-9D77-70D444E0B893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 noProof="0"/>
              <a:t>13th MicroTCA Workshop for Industry and Research</a:t>
            </a:r>
            <a:endParaRPr lang="en-GB" i="1" noProof="0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8F0BCB-94E0-C8DF-CA0D-110BDFA7D1F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3218" y="3555579"/>
            <a:ext cx="5354264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Data Classification: PUBLIC, ESO-605100_1</a:t>
            </a:r>
            <a:endParaRPr lang="en-GB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6C570BC-3860-3818-C0D2-622F18C3264D}"/>
              </a:ext>
            </a:extLst>
          </p:cNvPr>
          <p:cNvSpPr txBox="1">
            <a:spLocks/>
          </p:cNvSpPr>
          <p:nvPr userDrawn="1"/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3763516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T_right+1I+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D8AB7825-9C31-FD53-E214-175558924D9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36624" y="2014539"/>
            <a:ext cx="4924800" cy="3906836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6A60C7E-39E9-51BE-1364-9C9302742C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line Arial bold, 30 pt</a:t>
            </a:r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003026FC-218C-C5AE-85BC-B669936B573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30461" y="2014539"/>
            <a:ext cx="4924800" cy="3077093"/>
          </a:xfrm>
        </p:spPr>
        <p:txBody>
          <a:bodyPr/>
          <a:lstStyle>
            <a:lvl1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 algn="l">
              <a:lnSpc>
                <a:spcPct val="111000"/>
              </a:lnSpc>
              <a:spcBef>
                <a:spcPts val="120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11000"/>
              </a:lnSpc>
              <a:spcBef>
                <a:spcPts val="120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11000"/>
              </a:lnSpc>
              <a:spcBef>
                <a:spcPts val="120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11000"/>
              </a:lnSpc>
              <a:spcBef>
                <a:spcPts val="1200"/>
              </a:spcBef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1-Column Text, Arial, 18 pt, black</a:t>
            </a:r>
          </a:p>
          <a:p>
            <a:pPr lvl="1"/>
            <a:endParaRPr lang="de-DE" dirty="0"/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3178E150-19BD-8AF3-6D7D-CFCB88FAEA3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30460" y="5266944"/>
            <a:ext cx="4924800" cy="685870"/>
          </a:xfrm>
        </p:spPr>
        <p:txBody>
          <a:bodyPr anchor="b"/>
          <a:lstStyle>
            <a:lvl1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25000"/>
              </a:lnSpc>
              <a:spcBef>
                <a:spcPts val="800"/>
              </a:spcBef>
              <a:buNone/>
              <a:defRPr sz="1500" b="0" i="1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25000"/>
              </a:lnSpc>
              <a:spcBef>
                <a:spcPts val="800"/>
              </a:spcBef>
              <a:buNone/>
              <a:defRPr sz="1500" b="0" i="1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25000"/>
              </a:lnSpc>
              <a:spcBef>
                <a:spcPts val="800"/>
              </a:spcBef>
              <a:buNone/>
              <a:defRPr sz="1500" b="0" i="1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25000"/>
              </a:lnSpc>
              <a:spcBef>
                <a:spcPts val="800"/>
              </a:spcBef>
              <a:buNone/>
              <a:defRPr sz="1500" b="0" i="1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Caption, Arial Italic, 15 pt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A9D5B04-9C61-8EF9-BF85-893792A2844E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936624" y="6532505"/>
            <a:ext cx="5147377" cy="175312"/>
          </a:xfrm>
        </p:spPr>
        <p:txBody>
          <a:bodyPr/>
          <a:lstStyle/>
          <a:p>
            <a:r>
              <a:rPr lang="en-US" noProof="0"/>
              <a:t>13th MicroTCA Workshop for Industry and Research</a:t>
            </a:r>
            <a:endParaRPr lang="en-GB" i="1" noProof="0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C40195-83B7-B53A-4C4E-05C189139B5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941" y="3562303"/>
            <a:ext cx="5340817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Data Classification: PUBLIC, ESO-605100_1</a:t>
            </a:r>
            <a:endParaRPr lang="en-GB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B7AD612-3F82-05E4-30B3-E5078599D064}"/>
              </a:ext>
            </a:extLst>
          </p:cNvPr>
          <p:cNvSpPr txBox="1">
            <a:spLocks/>
          </p:cNvSpPr>
          <p:nvPr userDrawn="1"/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3701584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T+3I+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D8AB7825-9C31-FD53-E214-175558924D9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37847" y="2014540"/>
            <a:ext cx="3126769" cy="1909760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6A60C7E-39E9-51BE-1364-9C9302742C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line Arial bold, 30 pt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01EC199-87F9-4D50-EA60-C5E098191F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13th MicroTCA Workshop for Industry and Research</a:t>
            </a:r>
            <a:endParaRPr lang="en-GB" i="1" noProof="0" dirty="0"/>
          </a:p>
        </p:txBody>
      </p:sp>
      <p:sp>
        <p:nvSpPr>
          <p:cNvPr id="19" name="Textplatzhalter 4">
            <a:extLst>
              <a:ext uri="{FF2B5EF4-FFF2-40B4-BE49-F238E27FC236}">
                <a16:creationId xmlns:a16="http://schemas.microsoft.com/office/drawing/2014/main" id="{70CC73E1-9EED-A736-9EE2-90B6C7E9D83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37847" y="4133850"/>
            <a:ext cx="3126769" cy="1787525"/>
          </a:xfrm>
        </p:spPr>
        <p:txBody>
          <a:bodyPr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3-Column Text, Arial, 15 pt, black</a:t>
            </a:r>
          </a:p>
        </p:txBody>
      </p:sp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0F4346D0-02CE-145D-E53E-41F5EADE59D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532616" y="2014540"/>
            <a:ext cx="3126769" cy="1909760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12" name="Bildplatzhalter 9">
            <a:extLst>
              <a:ext uri="{FF2B5EF4-FFF2-40B4-BE49-F238E27FC236}">
                <a16:creationId xmlns:a16="http://schemas.microsoft.com/office/drawing/2014/main" id="{DF83300C-555C-31AE-7657-08C3B80290E3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127386" y="2014540"/>
            <a:ext cx="3126769" cy="1909760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24" name="Textplatzhalter 4">
            <a:extLst>
              <a:ext uri="{FF2B5EF4-FFF2-40B4-BE49-F238E27FC236}">
                <a16:creationId xmlns:a16="http://schemas.microsoft.com/office/drawing/2014/main" id="{9E4E8AAF-47DA-2646-0993-9FAA209F000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32616" y="4133850"/>
            <a:ext cx="3126769" cy="1787525"/>
          </a:xfrm>
        </p:spPr>
        <p:txBody>
          <a:bodyPr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3-Column Text, Arial, 15 pt, black</a:t>
            </a:r>
          </a:p>
        </p:txBody>
      </p:sp>
      <p:sp>
        <p:nvSpPr>
          <p:cNvPr id="23" name="Textplatzhalter 4">
            <a:extLst>
              <a:ext uri="{FF2B5EF4-FFF2-40B4-BE49-F238E27FC236}">
                <a16:creationId xmlns:a16="http://schemas.microsoft.com/office/drawing/2014/main" id="{ACB2CDA3-9E5A-D7B5-CDD2-059F29B454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127386" y="4133850"/>
            <a:ext cx="3126769" cy="1787525"/>
          </a:xfrm>
        </p:spPr>
        <p:txBody>
          <a:bodyPr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3-Column Text, Arial, 15 pt, black</a:t>
            </a:r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6B754F02-1870-6880-20CA-D4782BAD58A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16665" y="3569026"/>
            <a:ext cx="5327370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Data Classification: PUBLIC, ESO-605100_1</a:t>
            </a:r>
            <a:endParaRPr lang="en-GB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7665410-27F4-850D-DA3F-396D0AF5105C}"/>
              </a:ext>
            </a:extLst>
          </p:cNvPr>
          <p:cNvSpPr txBox="1">
            <a:spLocks/>
          </p:cNvSpPr>
          <p:nvPr userDrawn="1"/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5584154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T+2I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id="{2E99BFC8-D908-D520-263D-4D3BE7E3045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6091200" cy="6858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Image Placeholder</a:t>
            </a:r>
          </a:p>
        </p:txBody>
      </p:sp>
      <p:sp>
        <p:nvSpPr>
          <p:cNvPr id="3" name="Bildplatzhalter 3">
            <a:extLst>
              <a:ext uri="{FF2B5EF4-FFF2-40B4-BE49-F238E27FC236}">
                <a16:creationId xmlns:a16="http://schemas.microsoft.com/office/drawing/2014/main" id="{B9678422-1EA6-0112-76F1-D43B34A286B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00800" y="0"/>
            <a:ext cx="6091200" cy="6858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Image Placeholder</a:t>
            </a:r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C0E322F4-5356-944A-0818-280181F03E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37847" y="1576800"/>
            <a:ext cx="4688253" cy="4344574"/>
          </a:xfrm>
        </p:spPr>
        <p:txBody>
          <a:bodyPr anchor="t"/>
          <a:lstStyle>
            <a:lvl1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 dirty="0"/>
              <a:t>2-Column Text</a:t>
            </a:r>
          </a:p>
          <a:p>
            <a:pPr lvl="0"/>
            <a:r>
              <a:rPr lang="en-GB" noProof="0" dirty="0"/>
              <a:t>Arial, 24 pt, white, left aligned</a:t>
            </a:r>
          </a:p>
          <a:p>
            <a:pPr lvl="8"/>
            <a:endParaRPr lang="de-DE" dirty="0"/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EC0C8FC0-5529-1DAB-1C7E-A516CA9BB01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563946" y="1576800"/>
            <a:ext cx="4690207" cy="4344574"/>
          </a:xfrm>
        </p:spPr>
        <p:txBody>
          <a:bodyPr anchor="t"/>
          <a:lstStyle>
            <a:lvl1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 dirty="0"/>
              <a:t>2-Column Text</a:t>
            </a:r>
          </a:p>
          <a:p>
            <a:pPr lvl="0"/>
            <a:r>
              <a:rPr lang="en-GB" noProof="0" dirty="0"/>
              <a:t>Arial, 24 pt, white, left aligned</a:t>
            </a:r>
          </a:p>
          <a:p>
            <a:pPr lvl="8"/>
            <a:endParaRPr lang="de-DE" dirty="0"/>
          </a:p>
        </p:txBody>
      </p:sp>
      <p:sp>
        <p:nvSpPr>
          <p:cNvPr id="9" name="SmartArt-Platzhalter 5">
            <a:extLst>
              <a:ext uri="{FF2B5EF4-FFF2-40B4-BE49-F238E27FC236}">
                <a16:creationId xmlns:a16="http://schemas.microsoft.com/office/drawing/2014/main" id="{D4AB1337-D0F8-A165-15C7-B9FF7CF676B8}"/>
              </a:ext>
            </a:extLst>
          </p:cNvPr>
          <p:cNvSpPr>
            <a:spLocks noGrp="1"/>
          </p:cNvSpPr>
          <p:nvPr>
            <p:ph type="dgm" sz="quarter" idx="11"/>
          </p:nvPr>
        </p:nvSpPr>
        <p:spPr>
          <a:xfrm>
            <a:off x="11228400" y="399599"/>
            <a:ext cx="497477" cy="64778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/>
              <a:t>Click icon to add SmartArt graphic</a:t>
            </a:r>
            <a:endParaRPr lang="de-CH"/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97C6DC24-4FE7-D11D-4BDE-12E056B1BEC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Data Classification: PUBLIC, ESO-605100_1</a:t>
            </a:r>
            <a:endParaRPr lang="en-GB" noProof="0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2E768621-8630-6BEF-02C9-A783CD05F2F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5355763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T+3I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3">
            <a:extLst>
              <a:ext uri="{FF2B5EF4-FFF2-40B4-BE49-F238E27FC236}">
                <a16:creationId xmlns:a16="http://schemas.microsoft.com/office/drawing/2014/main" id="{EDDAE350-0D3C-DE36-457E-5E66E560F5D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067400" y="0"/>
            <a:ext cx="4057200" cy="6858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Image Placeholder</a:t>
            </a:r>
          </a:p>
        </p:txBody>
      </p:sp>
      <p:sp>
        <p:nvSpPr>
          <p:cNvPr id="7" name="Bildplatzhalter 3">
            <a:extLst>
              <a:ext uri="{FF2B5EF4-FFF2-40B4-BE49-F238E27FC236}">
                <a16:creationId xmlns:a16="http://schemas.microsoft.com/office/drawing/2014/main" id="{141CE681-BD04-D23B-F809-9BA05C49E62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134800" y="0"/>
            <a:ext cx="4057200" cy="6858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Image Placeholder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2E99BFC8-D908-D520-263D-4D3BE7E3045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4057200" cy="6858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Image Placeholder</a:t>
            </a:r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E264DBBD-A17B-04A4-F5FC-619ACBB3212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68923" y="3124199"/>
            <a:ext cx="3119354" cy="2797175"/>
          </a:xfrm>
        </p:spPr>
        <p:txBody>
          <a:bodyPr anchor="t"/>
          <a:lstStyle>
            <a:lvl1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 dirty="0"/>
              <a:t>3-Column Text</a:t>
            </a:r>
            <a:br>
              <a:rPr lang="en-GB" noProof="0" dirty="0"/>
            </a:br>
            <a:r>
              <a:rPr lang="en-GB" noProof="0" dirty="0"/>
              <a:t>Arial, 18 pt, white, left aligned</a:t>
            </a:r>
          </a:p>
        </p:txBody>
      </p:sp>
      <p:sp>
        <p:nvSpPr>
          <p:cNvPr id="10" name="Textplatzhalter 4">
            <a:extLst>
              <a:ext uri="{FF2B5EF4-FFF2-40B4-BE49-F238E27FC236}">
                <a16:creationId xmlns:a16="http://schemas.microsoft.com/office/drawing/2014/main" id="{1E7496E0-C109-6668-DD05-53913CC34F6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536324" y="3124199"/>
            <a:ext cx="3119354" cy="2797175"/>
          </a:xfrm>
        </p:spPr>
        <p:txBody>
          <a:bodyPr anchor="t"/>
          <a:lstStyle>
            <a:lvl1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 dirty="0"/>
              <a:t>3-Column Text</a:t>
            </a:r>
            <a:br>
              <a:rPr lang="en-GB" noProof="0" dirty="0"/>
            </a:br>
            <a:r>
              <a:rPr lang="en-GB" noProof="0" dirty="0"/>
              <a:t>Arial, 18 pt, white, left aligned</a:t>
            </a:r>
          </a:p>
        </p:txBody>
      </p:sp>
      <p:sp>
        <p:nvSpPr>
          <p:cNvPr id="11" name="Textplatzhalter 4">
            <a:extLst>
              <a:ext uri="{FF2B5EF4-FFF2-40B4-BE49-F238E27FC236}">
                <a16:creationId xmlns:a16="http://schemas.microsoft.com/office/drawing/2014/main" id="{5CC8DC6C-A22B-9060-9C47-9FD44872C9B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603724" y="3124199"/>
            <a:ext cx="3119354" cy="2797175"/>
          </a:xfrm>
        </p:spPr>
        <p:txBody>
          <a:bodyPr anchor="t"/>
          <a:lstStyle>
            <a:lvl1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 dirty="0"/>
              <a:t>3-Column Text</a:t>
            </a:r>
            <a:br>
              <a:rPr lang="en-GB" noProof="0" dirty="0"/>
            </a:br>
            <a:r>
              <a:rPr lang="en-GB" noProof="0" dirty="0"/>
              <a:t>Arial, 18 pt, white, left aligned</a:t>
            </a:r>
          </a:p>
        </p:txBody>
      </p:sp>
      <p:sp>
        <p:nvSpPr>
          <p:cNvPr id="3" name="SmartArt-Platzhalter 5">
            <a:extLst>
              <a:ext uri="{FF2B5EF4-FFF2-40B4-BE49-F238E27FC236}">
                <a16:creationId xmlns:a16="http://schemas.microsoft.com/office/drawing/2014/main" id="{6ABCA5BC-4B22-3F1B-51FD-31BCF514B4C2}"/>
              </a:ext>
            </a:extLst>
          </p:cNvPr>
          <p:cNvSpPr>
            <a:spLocks noGrp="1"/>
          </p:cNvSpPr>
          <p:nvPr>
            <p:ph type="dgm" sz="quarter" idx="11"/>
          </p:nvPr>
        </p:nvSpPr>
        <p:spPr>
          <a:xfrm>
            <a:off x="11228400" y="399599"/>
            <a:ext cx="497477" cy="64778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/>
              <a:t>Click icon to add SmartArt graphic</a:t>
            </a:r>
            <a:endParaRPr lang="de-CH"/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353B671B-11B8-5EB5-1223-D11D272869C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Data Classification: PUBLIC, ESO-605100_1</a:t>
            </a:r>
            <a:endParaRPr lang="en-GB" noProof="0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C1B441EE-3C96-1FDB-E79B-71F2D505966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8458083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T+4I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id="{2E99BFC8-D908-D520-263D-4D3BE7E3045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6090600" cy="34236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108000"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Image Placeholder</a:t>
            </a:r>
          </a:p>
        </p:txBody>
      </p:sp>
      <p:sp>
        <p:nvSpPr>
          <p:cNvPr id="3" name="Bildplatzhalter 3">
            <a:extLst>
              <a:ext uri="{FF2B5EF4-FFF2-40B4-BE49-F238E27FC236}">
                <a16:creationId xmlns:a16="http://schemas.microsoft.com/office/drawing/2014/main" id="{7F5E1F9A-AE9C-97D8-0568-8597094C67BC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101400" y="0"/>
            <a:ext cx="6090600" cy="34236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108000"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10" name="Bildplatzhalter 3">
            <a:extLst>
              <a:ext uri="{FF2B5EF4-FFF2-40B4-BE49-F238E27FC236}">
                <a16:creationId xmlns:a16="http://schemas.microsoft.com/office/drawing/2014/main" id="{FBD03FEE-4DCD-7D90-DAEB-5905A802376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0" y="3434400"/>
            <a:ext cx="6090600" cy="34236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108000"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11" name="Bildplatzhalter 3">
            <a:extLst>
              <a:ext uri="{FF2B5EF4-FFF2-40B4-BE49-F238E27FC236}">
                <a16:creationId xmlns:a16="http://schemas.microsoft.com/office/drawing/2014/main" id="{5FEA1EA0-5562-219A-FDDC-70D80236841D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101400" y="3434400"/>
            <a:ext cx="6090600" cy="34236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108000"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F187DF8-0AC2-49DE-999A-CBC0F45FA37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37847" y="1581150"/>
            <a:ext cx="4689230" cy="1391309"/>
          </a:xfrm>
        </p:spPr>
        <p:txBody>
          <a:bodyPr anchor="b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 dirty="0"/>
              <a:t>4-Column Text </a:t>
            </a:r>
            <a:br>
              <a:rPr lang="en-GB" noProof="0" dirty="0"/>
            </a:br>
            <a:r>
              <a:rPr lang="en-GB" noProof="0" dirty="0"/>
              <a:t>Arial, 15 pt, white, left aligned</a:t>
            </a:r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C0B8E777-CE26-4125-6914-F3392533DF0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564923" y="1581150"/>
            <a:ext cx="4689230" cy="1391309"/>
          </a:xfrm>
        </p:spPr>
        <p:txBody>
          <a:bodyPr anchor="b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 dirty="0"/>
              <a:t>4-Column Text </a:t>
            </a:r>
            <a:br>
              <a:rPr lang="en-GB" noProof="0" dirty="0"/>
            </a:br>
            <a:r>
              <a:rPr lang="en-GB" noProof="0" dirty="0"/>
              <a:t>Arial, 15 pt, white, left aligned</a:t>
            </a:r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0A81CF8B-A37E-09B1-47B9-4F88C24C854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37847" y="5015550"/>
            <a:ext cx="4689230" cy="1391309"/>
          </a:xfrm>
        </p:spPr>
        <p:txBody>
          <a:bodyPr anchor="b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 dirty="0"/>
              <a:t>4-Column Text </a:t>
            </a:r>
            <a:br>
              <a:rPr lang="en-GB" noProof="0" dirty="0"/>
            </a:br>
            <a:r>
              <a:rPr lang="en-GB" noProof="0" dirty="0"/>
              <a:t>Arial, 15 pt, white, left aligned</a:t>
            </a:r>
          </a:p>
        </p:txBody>
      </p:sp>
      <p:sp>
        <p:nvSpPr>
          <p:cNvPr id="13" name="Textplatzhalter 4">
            <a:extLst>
              <a:ext uri="{FF2B5EF4-FFF2-40B4-BE49-F238E27FC236}">
                <a16:creationId xmlns:a16="http://schemas.microsoft.com/office/drawing/2014/main" id="{A07C3E46-41C2-47CB-D2FD-25B518F0CEB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564923" y="5015551"/>
            <a:ext cx="4689230" cy="1391309"/>
          </a:xfrm>
        </p:spPr>
        <p:txBody>
          <a:bodyPr anchor="b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 dirty="0"/>
              <a:t>4-Column Text </a:t>
            </a:r>
            <a:br>
              <a:rPr lang="en-GB" noProof="0" dirty="0"/>
            </a:br>
            <a:r>
              <a:rPr lang="en-GB" noProof="0" dirty="0"/>
              <a:t>Arial, 15 pt, white, left aligned</a:t>
            </a:r>
          </a:p>
        </p:txBody>
      </p:sp>
      <p:sp>
        <p:nvSpPr>
          <p:cNvPr id="18" name="SmartArt-Platzhalter 5">
            <a:extLst>
              <a:ext uri="{FF2B5EF4-FFF2-40B4-BE49-F238E27FC236}">
                <a16:creationId xmlns:a16="http://schemas.microsoft.com/office/drawing/2014/main" id="{CFA5C265-66CB-EA9E-1006-215F841338C0}"/>
              </a:ext>
            </a:extLst>
          </p:cNvPr>
          <p:cNvSpPr>
            <a:spLocks noGrp="1"/>
          </p:cNvSpPr>
          <p:nvPr>
            <p:ph type="dgm" sz="quarter" idx="11"/>
          </p:nvPr>
        </p:nvSpPr>
        <p:spPr>
          <a:xfrm>
            <a:off x="11228400" y="399599"/>
            <a:ext cx="497477" cy="64778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/>
              <a:t>Click icon to add SmartArt graphic</a:t>
            </a:r>
            <a:endParaRPr lang="de-CH"/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4D698EEB-8508-290B-719E-40DC2BFCD99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Data Classification: PUBLIC, ESO-605100_1</a:t>
            </a:r>
            <a:endParaRPr lang="en-GB" noProof="0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712B761F-D416-8958-C975-EAF67347795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0269583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T+6I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3">
            <a:extLst>
              <a:ext uri="{FF2B5EF4-FFF2-40B4-BE49-F238E27FC236}">
                <a16:creationId xmlns:a16="http://schemas.microsoft.com/office/drawing/2014/main" id="{6181CF1F-30E6-36E0-B375-631C095847E1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8135200" y="0"/>
            <a:ext cx="4056800" cy="3423600"/>
          </a:xfrm>
          <a:solidFill>
            <a:srgbClr val="D2108D"/>
          </a:solidFill>
          <a:ln w="12700">
            <a:noFill/>
          </a:ln>
        </p:spPr>
        <p:txBody>
          <a:bodyPr lIns="216000" tIns="108000" rIns="216000" bIns="108000"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2E99BFC8-D908-D520-263D-4D3BE7E3045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4056800" cy="3423600"/>
          </a:xfrm>
          <a:solidFill>
            <a:srgbClr val="D2108D"/>
          </a:solidFill>
          <a:ln w="12700">
            <a:noFill/>
          </a:ln>
        </p:spPr>
        <p:txBody>
          <a:bodyPr lIns="216000" tIns="108000" rIns="216000" bIns="108000"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2" name="Bildplatzhalter 3">
            <a:extLst>
              <a:ext uri="{FF2B5EF4-FFF2-40B4-BE49-F238E27FC236}">
                <a16:creationId xmlns:a16="http://schemas.microsoft.com/office/drawing/2014/main" id="{B09398C8-55E0-2686-999B-D58C6499FA03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067600" y="0"/>
            <a:ext cx="4056800" cy="3423600"/>
          </a:xfrm>
          <a:solidFill>
            <a:srgbClr val="D2108D"/>
          </a:solidFill>
          <a:ln w="12700">
            <a:noFill/>
          </a:ln>
        </p:spPr>
        <p:txBody>
          <a:bodyPr lIns="216000" tIns="108000" rIns="216000" bIns="108000"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7" name="Bildplatzhalter 3">
            <a:extLst>
              <a:ext uri="{FF2B5EF4-FFF2-40B4-BE49-F238E27FC236}">
                <a16:creationId xmlns:a16="http://schemas.microsoft.com/office/drawing/2014/main" id="{D37ECC04-7853-9A2F-A5D6-06265A69C5A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3434400"/>
            <a:ext cx="4056800" cy="34236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108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8" name="Bildplatzhalter 3">
            <a:extLst>
              <a:ext uri="{FF2B5EF4-FFF2-40B4-BE49-F238E27FC236}">
                <a16:creationId xmlns:a16="http://schemas.microsoft.com/office/drawing/2014/main" id="{DA0933D5-505E-BF1C-C98B-A0FDFCE965F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067600" y="3434400"/>
            <a:ext cx="4056800" cy="34236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108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13" name="Bildplatzhalter 3">
            <a:extLst>
              <a:ext uri="{FF2B5EF4-FFF2-40B4-BE49-F238E27FC236}">
                <a16:creationId xmlns:a16="http://schemas.microsoft.com/office/drawing/2014/main" id="{9EC722AD-49A0-EEF0-464A-3B723682E99D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135200" y="3434400"/>
            <a:ext cx="4056800" cy="34236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108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3" name="Textplatzhalter 4">
            <a:extLst>
              <a:ext uri="{FF2B5EF4-FFF2-40B4-BE49-F238E27FC236}">
                <a16:creationId xmlns:a16="http://schemas.microsoft.com/office/drawing/2014/main" id="{620907A4-1574-D634-5960-45663CBAFB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68923" y="451141"/>
            <a:ext cx="3119354" cy="2612458"/>
          </a:xfrm>
        </p:spPr>
        <p:txBody>
          <a:bodyPr anchor="b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 dirty="0"/>
              <a:t>4-Column Text </a:t>
            </a:r>
            <a:br>
              <a:rPr lang="en-GB" noProof="0" dirty="0"/>
            </a:br>
            <a:r>
              <a:rPr lang="en-GB" noProof="0" dirty="0"/>
              <a:t>Arial, 15 pt, white, left aligned</a:t>
            </a:r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AFBE1064-816E-B03D-B92D-BC11B67FF3A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536324" y="451141"/>
            <a:ext cx="3119354" cy="2612458"/>
          </a:xfrm>
        </p:spPr>
        <p:txBody>
          <a:bodyPr anchor="b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 dirty="0"/>
              <a:t>4-Column Text </a:t>
            </a:r>
            <a:br>
              <a:rPr lang="en-GB" noProof="0" dirty="0"/>
            </a:br>
            <a:r>
              <a:rPr lang="en-GB" noProof="0" dirty="0"/>
              <a:t>Arial, 15 pt, white, left aligned</a:t>
            </a:r>
          </a:p>
        </p:txBody>
      </p:sp>
      <p:sp>
        <p:nvSpPr>
          <p:cNvPr id="10" name="Textplatzhalter 4">
            <a:extLst>
              <a:ext uri="{FF2B5EF4-FFF2-40B4-BE49-F238E27FC236}">
                <a16:creationId xmlns:a16="http://schemas.microsoft.com/office/drawing/2014/main" id="{794D695A-6379-AE12-4561-221C2A05A6A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603725" y="1581150"/>
            <a:ext cx="3119354" cy="1482449"/>
          </a:xfrm>
        </p:spPr>
        <p:txBody>
          <a:bodyPr anchor="b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 dirty="0"/>
              <a:t>4-Column Text </a:t>
            </a:r>
            <a:br>
              <a:rPr lang="en-GB" noProof="0" dirty="0"/>
            </a:br>
            <a:r>
              <a:rPr lang="en-GB" noProof="0" dirty="0"/>
              <a:t>Arial, 15 pt, white, left aligned</a:t>
            </a:r>
          </a:p>
        </p:txBody>
      </p:sp>
      <p:sp>
        <p:nvSpPr>
          <p:cNvPr id="11" name="Textplatzhalter 4">
            <a:extLst>
              <a:ext uri="{FF2B5EF4-FFF2-40B4-BE49-F238E27FC236}">
                <a16:creationId xmlns:a16="http://schemas.microsoft.com/office/drawing/2014/main" id="{DCBC5F7F-7524-9228-C498-77B3F6BE9FE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68923" y="3794401"/>
            <a:ext cx="3119354" cy="2612458"/>
          </a:xfrm>
        </p:spPr>
        <p:txBody>
          <a:bodyPr anchor="b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 dirty="0"/>
              <a:t>4-Column Text </a:t>
            </a:r>
            <a:br>
              <a:rPr lang="en-GB" noProof="0" dirty="0"/>
            </a:br>
            <a:r>
              <a:rPr lang="en-GB" noProof="0" dirty="0"/>
              <a:t>Arial, 15 pt, white, left aligned</a:t>
            </a:r>
          </a:p>
        </p:txBody>
      </p: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94E61D33-FC02-F350-F412-4E7D8E1DA0E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36324" y="3794401"/>
            <a:ext cx="3119354" cy="2612458"/>
          </a:xfrm>
        </p:spPr>
        <p:txBody>
          <a:bodyPr anchor="b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 dirty="0"/>
              <a:t>4-Column Text </a:t>
            </a:r>
            <a:br>
              <a:rPr lang="en-GB" noProof="0" dirty="0"/>
            </a:br>
            <a:r>
              <a:rPr lang="en-GB" noProof="0" dirty="0"/>
              <a:t>Arial, 15 pt, white, left aligned</a:t>
            </a:r>
          </a:p>
        </p:txBody>
      </p:sp>
      <p:sp>
        <p:nvSpPr>
          <p:cNvPr id="14" name="Textplatzhalter 4">
            <a:extLst>
              <a:ext uri="{FF2B5EF4-FFF2-40B4-BE49-F238E27FC236}">
                <a16:creationId xmlns:a16="http://schemas.microsoft.com/office/drawing/2014/main" id="{CB1DFC4C-4616-3BC0-218F-3B9D8E7FA0A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603724" y="3794401"/>
            <a:ext cx="3119354" cy="2612458"/>
          </a:xfrm>
        </p:spPr>
        <p:txBody>
          <a:bodyPr anchor="b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 dirty="0"/>
              <a:t>4-Column Text </a:t>
            </a:r>
            <a:br>
              <a:rPr lang="en-GB" noProof="0" dirty="0"/>
            </a:br>
            <a:r>
              <a:rPr lang="en-GB" noProof="0" dirty="0"/>
              <a:t>Arial, 15 pt, white, left aligned</a:t>
            </a:r>
          </a:p>
        </p:txBody>
      </p:sp>
      <p:sp>
        <p:nvSpPr>
          <p:cNvPr id="27" name="SmartArt-Platzhalter 5">
            <a:extLst>
              <a:ext uri="{FF2B5EF4-FFF2-40B4-BE49-F238E27FC236}">
                <a16:creationId xmlns:a16="http://schemas.microsoft.com/office/drawing/2014/main" id="{014D9550-C751-E6B9-C1DE-A91B8E41A10C}"/>
              </a:ext>
            </a:extLst>
          </p:cNvPr>
          <p:cNvSpPr>
            <a:spLocks noGrp="1"/>
          </p:cNvSpPr>
          <p:nvPr>
            <p:ph type="dgm" sz="quarter" idx="11"/>
          </p:nvPr>
        </p:nvSpPr>
        <p:spPr>
          <a:xfrm>
            <a:off x="11228400" y="399599"/>
            <a:ext cx="497477" cy="64778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/>
              <a:t>Click icon to add SmartArt graphic</a:t>
            </a:r>
            <a:endParaRPr lang="de-CH"/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F6299F04-C96D-4539-6FD6-68641829E92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Data Classification: PUBLIC, ESO-605100_1</a:t>
            </a:r>
            <a:endParaRPr lang="en-GB" noProof="0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ABC3BE50-95F9-93B1-7C3C-AA620931BD5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4647543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_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2C10E57-699A-8121-DD38-6408EA13F2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4796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D2C10E57-699A-8121-DD38-6408EA13F2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ildplatzhalter 3">
            <a:extLst>
              <a:ext uri="{FF2B5EF4-FFF2-40B4-BE49-F238E27FC236}">
                <a16:creationId xmlns:a16="http://schemas.microsoft.com/office/drawing/2014/main" id="{2E99BFC8-D908-D520-263D-4D3BE7E3045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6096000" cy="6858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3" name="Bildplatzhalter 3">
            <a:extLst>
              <a:ext uri="{FF2B5EF4-FFF2-40B4-BE49-F238E27FC236}">
                <a16:creationId xmlns:a16="http://schemas.microsoft.com/office/drawing/2014/main" id="{67ADA526-E9DC-DEBD-F809-B955DE3BE72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626101" y="3429000"/>
            <a:ext cx="5627688" cy="2952750"/>
          </a:xfrm>
          <a:solidFill>
            <a:srgbClr val="D2108D"/>
          </a:solidFill>
          <a:ln w="22225" cmpd="sng">
            <a:solidFill>
              <a:schemeClr val="bg1"/>
            </a:solidFill>
            <a:miter lim="800000"/>
            <a:extLst>
              <a:ext uri="{C807C97D-BFC1-408E-A445-0C87EB9F89A2}">
                <ask:lineSketchStyleProps xmlns:ask="http://schemas.microsoft.com/office/drawing/2018/sketchyshapes">
                  <ask:type>
                    <ask:lineSketchNone/>
                  </ask:type>
                </ask:lineSketchStyleProps>
              </a:ext>
            </a:extLst>
          </a:ln>
        </p:spPr>
        <p:txBody>
          <a:bodyPr vert="horz" lIns="216000" tIns="216000" rIns="216000" bIns="216000" rtlCol="0" anchor="b">
            <a:noAutofit/>
          </a:bodyPr>
          <a:lstStyle>
            <a:lvl1pPr>
              <a:defRPr lang="de-CH">
                <a:solidFill>
                  <a:schemeClr val="bg1"/>
                </a:solidFill>
              </a:defRPr>
            </a:lvl1pPr>
          </a:lstStyle>
          <a:p>
            <a:pPr lvl="0"/>
            <a:r>
              <a:rPr lang="de-CH"/>
              <a:t>Image Placeholder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197DF86B-3F4A-412D-B665-88EA77BC04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36625" y="0"/>
            <a:ext cx="4619374" cy="1137600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en-GB" noProof="0" dirty="0"/>
              <a:t>Headline</a:t>
            </a:r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31360156-9255-A812-BE46-051A4B9F1A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564314" y="1576800"/>
            <a:ext cx="4689473" cy="1312200"/>
          </a:xfrm>
        </p:spPr>
        <p:txBody>
          <a:bodyPr/>
          <a:lstStyle>
            <a:lvl1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 algn="l">
              <a:lnSpc>
                <a:spcPct val="111000"/>
              </a:lnSpc>
              <a:spcBef>
                <a:spcPts val="120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11000"/>
              </a:lnSpc>
              <a:spcBef>
                <a:spcPts val="120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11000"/>
              </a:lnSpc>
              <a:spcBef>
                <a:spcPts val="120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11000"/>
              </a:lnSpc>
              <a:spcBef>
                <a:spcPts val="1200"/>
              </a:spcBef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Creative Layout 01, Arial, 18 pt, black</a:t>
            </a:r>
          </a:p>
          <a:p>
            <a:pPr lvl="1"/>
            <a:endParaRPr lang="de-DE" dirty="0"/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695CF15C-8172-5EC7-3580-6120E65EEB5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941" y="3562303"/>
            <a:ext cx="5340817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Data Classification: PUBLIC, ESO-605100_1</a:t>
            </a:r>
            <a:endParaRPr lang="en-GB" noProof="0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1629384-5E10-BB46-F3D3-C4C9F49C64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321001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69D95539-5CB2-37ED-D38B-E8BD00FC89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03294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69D95539-5CB2-37ED-D38B-E8BD00FC89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956317E-20F6-4DD1-F84D-E40AE39EE33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37848" y="1576800"/>
            <a:ext cx="10316307" cy="3722014"/>
          </a:xfrm>
        </p:spPr>
        <p:txBody>
          <a:bodyPr vert="horz" anchor="ctr"/>
          <a:lstStyle>
            <a:lvl1pPr algn="ctr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his is the chapter title and </a:t>
            </a:r>
            <a:br>
              <a:rPr lang="en-GB" noProof="0" dirty="0"/>
            </a:br>
            <a:r>
              <a:rPr lang="en-GB" noProof="0" dirty="0"/>
              <a:t>it can go on 3 to 4 lines.</a:t>
            </a:r>
            <a:br>
              <a:rPr lang="en-GB" noProof="0" dirty="0"/>
            </a:br>
            <a:r>
              <a:rPr lang="en-GB" noProof="0" dirty="0"/>
              <a:t>Arial Bold, 40 pt, white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82138C45-39CA-C7A7-7D76-AD2712A2A03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FDA00B84-F826-7AC9-A28F-475EBB97343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9"/>
            <a:ext cx="5342305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Data Classification: PUBLIC, ESO-605100_1</a:t>
            </a:r>
            <a:endParaRPr lang="en-GB" noProof="0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AFC67C5E-C5D4-9326-4183-C80C10ABD343}"/>
              </a:ext>
            </a:extLst>
          </p:cNvPr>
          <p:cNvSpPr txBox="1">
            <a:spLocks/>
          </p:cNvSpPr>
          <p:nvPr userDrawn="1"/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66D6064-FB9F-4877-ADF1-97150FF2D969}" type="slidenum">
              <a:rPr lang="en-GB" smtClean="0">
                <a:solidFill>
                  <a:schemeClr val="bg1"/>
                </a:solidFill>
              </a:rPr>
              <a:pPr/>
              <a:t>‹#›</a:t>
            </a:fld>
            <a:endParaRPr lang="en-GB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480863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_0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74991E2-D260-5369-FE3C-050962E974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326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74991E2-D260-5369-FE3C-050962E974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ildplatzhalter 3">
            <a:extLst>
              <a:ext uri="{FF2B5EF4-FFF2-40B4-BE49-F238E27FC236}">
                <a16:creationId xmlns:a16="http://schemas.microsoft.com/office/drawing/2014/main" id="{2E99BFC8-D908-D520-263D-4D3BE7E3045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6096000" cy="6858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3" name="Bildplatzhalter 3">
            <a:extLst>
              <a:ext uri="{FF2B5EF4-FFF2-40B4-BE49-F238E27FC236}">
                <a16:creationId xmlns:a16="http://schemas.microsoft.com/office/drawing/2014/main" id="{67ADA526-E9DC-DEBD-F809-B955DE3BE72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626100" y="1577975"/>
            <a:ext cx="5629275" cy="4803775"/>
          </a:xfrm>
          <a:solidFill>
            <a:srgbClr val="D2108D"/>
          </a:solidFill>
          <a:ln w="22225">
            <a:solidFill>
              <a:schemeClr val="bg1"/>
            </a:solidFill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197DF86B-3F4A-412D-B665-88EA77BC04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36625" y="0"/>
            <a:ext cx="4689475" cy="1137600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en-GB" noProof="0" dirty="0"/>
              <a:t>Headline</a:t>
            </a:r>
          </a:p>
        </p:txBody>
      </p:sp>
      <p:sp>
        <p:nvSpPr>
          <p:cNvPr id="2" name="Textplatzhalter 4">
            <a:extLst>
              <a:ext uri="{FF2B5EF4-FFF2-40B4-BE49-F238E27FC236}">
                <a16:creationId xmlns:a16="http://schemas.microsoft.com/office/drawing/2014/main" id="{4AD3199E-D2A2-C622-CFB7-A971643DE70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25" y="2015999"/>
            <a:ext cx="4221163" cy="3905375"/>
          </a:xfrm>
        </p:spPr>
        <p:txBody>
          <a:bodyPr anchor="b"/>
          <a:lstStyle>
            <a:lvl1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 dirty="0"/>
              <a:t>Creative Layout 2</a:t>
            </a:r>
            <a:br>
              <a:rPr lang="en-GB" noProof="0" dirty="0"/>
            </a:br>
            <a:r>
              <a:rPr lang="en-GB" noProof="0" dirty="0"/>
              <a:t>Arial, 18 pt</a:t>
            </a:r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A006D1A8-9633-66EB-1EA4-752C9039E34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941" y="3562303"/>
            <a:ext cx="5340817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Data Classification: PUBLIC, ESO-605100_1</a:t>
            </a:r>
            <a:endParaRPr lang="en-GB" noProof="0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E1D6DF06-4DA4-1A57-9E2A-7846123C92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7808491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_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6A36C70-93D0-B533-F9A3-2158AABFC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line Arial bold, 30 pt</a:t>
            </a:r>
          </a:p>
        </p:txBody>
      </p:sp>
      <p:sp>
        <p:nvSpPr>
          <p:cNvPr id="6" name="Bildplatzhalter 3">
            <a:extLst>
              <a:ext uri="{FF2B5EF4-FFF2-40B4-BE49-F238E27FC236}">
                <a16:creationId xmlns:a16="http://schemas.microsoft.com/office/drawing/2014/main" id="{C2B69BE6-61ED-1FF0-912A-EEA44FCEC43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067400" y="4888522"/>
            <a:ext cx="4057200" cy="1980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7" name="Bildplatzhalter 3">
            <a:extLst>
              <a:ext uri="{FF2B5EF4-FFF2-40B4-BE49-F238E27FC236}">
                <a16:creationId xmlns:a16="http://schemas.microsoft.com/office/drawing/2014/main" id="{D8A7CC7B-7D64-595D-1B3D-31D9CD59368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134800" y="4888522"/>
            <a:ext cx="4057200" cy="1980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8" name="Bildplatzhalter 3">
            <a:extLst>
              <a:ext uri="{FF2B5EF4-FFF2-40B4-BE49-F238E27FC236}">
                <a16:creationId xmlns:a16="http://schemas.microsoft.com/office/drawing/2014/main" id="{7EF8A4A0-360F-EDDD-4628-6C42C6749FB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4888522"/>
            <a:ext cx="4057200" cy="1980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A2074F46-A69C-7568-C74B-BDAA38DD27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36624" y="1577975"/>
            <a:ext cx="10317600" cy="301747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 dirty="0"/>
              <a:t>Copy Arial, 18 pt</a:t>
            </a:r>
          </a:p>
          <a:p>
            <a:pPr lvl="1"/>
            <a:r>
              <a:rPr lang="en-GB" noProof="0" dirty="0"/>
              <a:t>First Bullet, 18 pt</a:t>
            </a:r>
          </a:p>
          <a:p>
            <a:pPr lvl="2"/>
            <a:r>
              <a:rPr lang="en-GB" noProof="0" dirty="0"/>
              <a:t>Second Bullet, 18 pt</a:t>
            </a:r>
          </a:p>
          <a:p>
            <a:pPr lvl="3"/>
            <a:r>
              <a:rPr lang="en-GB" noProof="0" dirty="0"/>
              <a:t>Subheading Arial bold, 18 pt</a:t>
            </a:r>
          </a:p>
          <a:p>
            <a:pPr lvl="4"/>
            <a:r>
              <a:rPr lang="en-GB" noProof="0" dirty="0"/>
              <a:t>Subheading Arial bold, 24 pt</a:t>
            </a:r>
          </a:p>
          <a:p>
            <a:pPr lvl="5"/>
            <a:r>
              <a:rPr lang="en-GB" noProof="0" dirty="0"/>
              <a:t>Quote, 24 pt, orange</a:t>
            </a:r>
          </a:p>
          <a:p>
            <a:pPr lvl="6"/>
            <a:endParaRPr lang="de-CH" dirty="0"/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C1921E16-7DA0-45EF-EA48-A00C75394BA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10103700" y="2661820"/>
            <a:ext cx="3553299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Data Classification: PUBLIC, ESO-605100_1</a:t>
            </a:r>
            <a:endParaRPr lang="en-GB" noProof="0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B5B4866D-C821-28BF-B97B-2070E5220E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8675107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_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D8AB7825-9C31-FD53-E214-175558924D9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" y="1576799"/>
            <a:ext cx="2805231" cy="5281201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6A60C7E-39E9-51BE-1364-9C9302742C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line Arial bold, 30 pt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D9B195C9-522F-CEAB-1C05-9C1EC8BEA35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31" name="Bildplatzhalter 9">
            <a:extLst>
              <a:ext uri="{FF2B5EF4-FFF2-40B4-BE49-F238E27FC236}">
                <a16:creationId xmlns:a16="http://schemas.microsoft.com/office/drawing/2014/main" id="{FC341FB4-1140-6179-CA27-0BE073B9EED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816032" y="1576799"/>
            <a:ext cx="4213245" cy="2635200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41" name="Bildplatzhalter 9">
            <a:extLst>
              <a:ext uri="{FF2B5EF4-FFF2-40B4-BE49-F238E27FC236}">
                <a16:creationId xmlns:a16="http://schemas.microsoft.com/office/drawing/2014/main" id="{03610043-1BC0-48DC-2A7E-2CB01ED39B5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7040076" y="1576798"/>
            <a:ext cx="5151924" cy="2635200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42" name="Bildplatzhalter 9">
            <a:extLst>
              <a:ext uri="{FF2B5EF4-FFF2-40B4-BE49-F238E27FC236}">
                <a16:creationId xmlns:a16="http://schemas.microsoft.com/office/drawing/2014/main" id="{FE45F635-E437-C8B0-8CC0-C0403F9A4047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7040075" y="4222798"/>
            <a:ext cx="2335894" cy="2635202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43" name="Bildplatzhalter 9">
            <a:extLst>
              <a:ext uri="{FF2B5EF4-FFF2-40B4-BE49-F238E27FC236}">
                <a16:creationId xmlns:a16="http://schemas.microsoft.com/office/drawing/2014/main" id="{CE7AAD22-C490-64D4-E788-84D709B03A89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386769" y="4222798"/>
            <a:ext cx="2805230" cy="2635202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44" name="Bildplatzhalter 9">
            <a:extLst>
              <a:ext uri="{FF2B5EF4-FFF2-40B4-BE49-F238E27FC236}">
                <a16:creationId xmlns:a16="http://schemas.microsoft.com/office/drawing/2014/main" id="{DB8A2C7A-F427-FFE2-6297-547E780EB7DE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2816032" y="4222799"/>
            <a:ext cx="4213245" cy="2635201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9240033-1B27-2ECE-1AC2-4C0A982DAA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666372" y="4018732"/>
            <a:ext cx="4427958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Data Classification: PUBLIC, ESO-605100_1</a:t>
            </a:r>
            <a:endParaRPr lang="en-GB" noProof="0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35808496-BF18-B186-3C56-0669606A58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3734808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allery 4I+4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D8AB7825-9C31-FD53-E214-175558924D9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36624" y="1577975"/>
            <a:ext cx="2570947" cy="2775661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6A60C7E-39E9-51BE-1364-9C9302742C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line Arial bold, 30 pt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01EC199-87F9-4D50-EA60-C5E098191F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13th MicroTCA Workshop for Industry and Research</a:t>
            </a:r>
            <a:endParaRPr lang="en-GB" i="1" noProof="0" dirty="0"/>
          </a:p>
        </p:txBody>
      </p:sp>
      <p:sp>
        <p:nvSpPr>
          <p:cNvPr id="23" name="Textplatzhalter 4">
            <a:extLst>
              <a:ext uri="{FF2B5EF4-FFF2-40B4-BE49-F238E27FC236}">
                <a16:creationId xmlns:a16="http://schemas.microsoft.com/office/drawing/2014/main" id="{22A8B9EF-BF4A-23C0-AA21-A52725BB8AA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36624" y="4599709"/>
            <a:ext cx="2110124" cy="1321666"/>
          </a:xfrm>
        </p:spPr>
        <p:txBody>
          <a:bodyPr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Arial, 15 pt, black</a:t>
            </a:r>
          </a:p>
        </p:txBody>
      </p:sp>
      <p:sp>
        <p:nvSpPr>
          <p:cNvPr id="20" name="Textplatzhalter 4">
            <a:extLst>
              <a:ext uri="{FF2B5EF4-FFF2-40B4-BE49-F238E27FC236}">
                <a16:creationId xmlns:a16="http://schemas.microsoft.com/office/drawing/2014/main" id="{C36E8371-00EC-6677-234D-7EE2B661742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15671" y="4599709"/>
            <a:ext cx="2110124" cy="1321666"/>
          </a:xfrm>
        </p:spPr>
        <p:txBody>
          <a:bodyPr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Arial regular, 15 pt</a:t>
            </a:r>
          </a:p>
        </p:txBody>
      </p:sp>
      <p:sp>
        <p:nvSpPr>
          <p:cNvPr id="21" name="Textplatzhalter 4">
            <a:extLst>
              <a:ext uri="{FF2B5EF4-FFF2-40B4-BE49-F238E27FC236}">
                <a16:creationId xmlns:a16="http://schemas.microsoft.com/office/drawing/2014/main" id="{40B7130C-F961-1974-91CC-4BC0C76D168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94718" y="4599709"/>
            <a:ext cx="2110124" cy="1321666"/>
          </a:xfrm>
        </p:spPr>
        <p:txBody>
          <a:bodyPr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Arial regular, 15 pt</a:t>
            </a:r>
          </a:p>
        </p:txBody>
      </p:sp>
      <p:sp>
        <p:nvSpPr>
          <p:cNvPr id="22" name="Textplatzhalter 4">
            <a:extLst>
              <a:ext uri="{FF2B5EF4-FFF2-40B4-BE49-F238E27FC236}">
                <a16:creationId xmlns:a16="http://schemas.microsoft.com/office/drawing/2014/main" id="{2366CB34-7829-60F0-4F0F-D55C2C7ABC8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673764" y="4599709"/>
            <a:ext cx="2110124" cy="1321666"/>
          </a:xfrm>
        </p:spPr>
        <p:txBody>
          <a:bodyPr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Arial regular, 15 pt</a:t>
            </a:r>
          </a:p>
        </p:txBody>
      </p:sp>
      <p:sp>
        <p:nvSpPr>
          <p:cNvPr id="17" name="Bildplatzhalter 9">
            <a:extLst>
              <a:ext uri="{FF2B5EF4-FFF2-40B4-BE49-F238E27FC236}">
                <a16:creationId xmlns:a16="http://schemas.microsoft.com/office/drawing/2014/main" id="{75E558CD-F4DF-63AC-B12B-538A53195F69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518371" y="1577975"/>
            <a:ext cx="2570947" cy="2775661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18" name="Bildplatzhalter 9">
            <a:extLst>
              <a:ext uri="{FF2B5EF4-FFF2-40B4-BE49-F238E27FC236}">
                <a16:creationId xmlns:a16="http://schemas.microsoft.com/office/drawing/2014/main" id="{B9933D4C-5FB5-7C95-E310-DF0D24675C69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100118" y="1577975"/>
            <a:ext cx="2570947" cy="2775661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19" name="Bildplatzhalter 9">
            <a:extLst>
              <a:ext uri="{FF2B5EF4-FFF2-40B4-BE49-F238E27FC236}">
                <a16:creationId xmlns:a16="http://schemas.microsoft.com/office/drawing/2014/main" id="{8894D095-CFBA-AADA-0B72-B739A72782BF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681865" y="1577975"/>
            <a:ext cx="2570947" cy="2775661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E53DABF5-8C90-B4EE-E548-ECA7C2C08A9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941" y="3562303"/>
            <a:ext cx="5340817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Data Classification: PUBLIC, ESO-605100_1</a:t>
            </a:r>
            <a:endParaRPr lang="en-GB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AF98BFF-79D3-5B00-D8CC-413F98089B81}"/>
              </a:ext>
            </a:extLst>
          </p:cNvPr>
          <p:cNvSpPr txBox="1">
            <a:spLocks/>
          </p:cNvSpPr>
          <p:nvPr userDrawn="1"/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591864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+I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FED09EC-46EE-D375-6E30-077FAC15151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4224000 w 12192000"/>
              <a:gd name="connsiteY0" fmla="*/ 4606706 h 6858000"/>
              <a:gd name="connsiteX1" fmla="*/ 4224000 w 12192000"/>
              <a:gd name="connsiteY1" fmla="*/ 4624706 h 6858000"/>
              <a:gd name="connsiteX2" fmla="*/ 7968000 w 12192000"/>
              <a:gd name="connsiteY2" fmla="*/ 4624706 h 6858000"/>
              <a:gd name="connsiteX3" fmla="*/ 7968000 w 12192000"/>
              <a:gd name="connsiteY3" fmla="*/ 4606706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4224000" y="4606706"/>
                </a:moveTo>
                <a:lnTo>
                  <a:pt x="4224000" y="4624706"/>
                </a:lnTo>
                <a:lnTo>
                  <a:pt x="7968000" y="4624706"/>
                </a:lnTo>
                <a:lnTo>
                  <a:pt x="7968000" y="4606706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D2108D"/>
          </a:solidFill>
        </p:spPr>
        <p:txBody>
          <a:bodyPr wrap="square" lIns="216000" tIns="216000" rIns="216000" bIns="216000" anchor="b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5B684C9-71E7-A0AE-9C9C-96A51523B51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0000" y="1576800"/>
            <a:ext cx="10317600" cy="2476470"/>
          </a:xfrm>
        </p:spPr>
        <p:txBody>
          <a:bodyPr anchor="b"/>
          <a:lstStyle>
            <a:lvl1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4000" b="0" i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</a:defRPr>
            </a:lvl1pPr>
            <a:lvl2pPr marL="0" indent="0" algn="ctr">
              <a:lnSpc>
                <a:spcPct val="100000"/>
              </a:lnSpc>
              <a:spcBef>
                <a:spcPts val="1200"/>
              </a:spcBef>
              <a:buNone/>
              <a:defRPr sz="3000" b="0" i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</a:defRPr>
            </a:lvl2pPr>
            <a:lvl3pPr marL="0" indent="0" algn="ctr">
              <a:lnSpc>
                <a:spcPct val="100000"/>
              </a:lnSpc>
              <a:spcBef>
                <a:spcPts val="1200"/>
              </a:spcBef>
              <a:buNone/>
              <a:defRPr sz="3000" b="0" i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</a:defRPr>
            </a:lvl3pPr>
            <a:lvl4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3000" b="0" i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</a:defRPr>
            </a:lvl4pPr>
            <a:lvl5pPr marL="0" indent="0" algn="ctr">
              <a:lnSpc>
                <a:spcPct val="100000"/>
              </a:lnSpc>
              <a:spcBef>
                <a:spcPts val="1200"/>
              </a:spcBef>
              <a:buNone/>
              <a:defRPr sz="3000" b="0" i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</a:defRPr>
            </a:lvl5pPr>
            <a:lvl6pPr marL="0" indent="0" algn="ctr">
              <a:lnSpc>
                <a:spcPct val="100000"/>
              </a:lnSpc>
              <a:spcBef>
                <a:spcPts val="1200"/>
              </a:spcBef>
              <a:buNone/>
              <a:defRPr sz="3000" b="0" i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</a:defRPr>
            </a:lvl6pPr>
            <a:lvl7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3000" b="0" i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</a:defRPr>
            </a:lvl7pPr>
            <a:lvl8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3000" b="0" i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</a:defRPr>
            </a:lvl8pPr>
            <a:lvl9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3000" b="0" i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</a:defRPr>
            </a:lvl9pPr>
          </a:lstStyle>
          <a:p>
            <a:pPr lvl="0"/>
            <a:r>
              <a:rPr lang="en-GB" noProof="0" dirty="0"/>
              <a:t>Quote on full background image</a:t>
            </a:r>
          </a:p>
          <a:p>
            <a:pPr lvl="0"/>
            <a:r>
              <a:rPr lang="en-GB" noProof="0" dirty="0"/>
              <a:t>Georgia, Italic, 40 pt, centre aligned</a:t>
            </a:r>
          </a:p>
          <a:p>
            <a:pPr lvl="1"/>
            <a:r>
              <a:rPr lang="en-GB" noProof="0" dirty="0"/>
              <a:t>For longer Quotes, Georgia, Italic, 30 pt</a:t>
            </a:r>
          </a:p>
        </p:txBody>
      </p:sp>
      <p:sp>
        <p:nvSpPr>
          <p:cNvPr id="3" name="SmartArt-Platzhalter 5">
            <a:extLst>
              <a:ext uri="{FF2B5EF4-FFF2-40B4-BE49-F238E27FC236}">
                <a16:creationId xmlns:a16="http://schemas.microsoft.com/office/drawing/2014/main" id="{102E4235-1D94-B0B0-97E6-75498170299E}"/>
              </a:ext>
            </a:extLst>
          </p:cNvPr>
          <p:cNvSpPr>
            <a:spLocks noGrp="1"/>
          </p:cNvSpPr>
          <p:nvPr>
            <p:ph type="dgm" sz="quarter" idx="11"/>
          </p:nvPr>
        </p:nvSpPr>
        <p:spPr>
          <a:xfrm>
            <a:off x="11228400" y="399599"/>
            <a:ext cx="497477" cy="64778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/>
              <a:t>Click icon to add SmartArt graphic</a:t>
            </a:r>
            <a:endParaRPr lang="de-CH"/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53D8AFA1-041C-D431-55FA-3EA3AEA6CFF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37200" y="5160142"/>
            <a:ext cx="10317600" cy="842153"/>
          </a:xfrm>
        </p:spPr>
        <p:txBody>
          <a:bodyPr anchor="t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 dirty="0"/>
              <a:t>Author</a:t>
            </a:r>
          </a:p>
          <a:p>
            <a:pPr lvl="1"/>
            <a:endParaRPr lang="de-DE" dirty="0"/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304CFC0D-F6B8-6E72-2F7D-4098080247E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13585" y="3557170"/>
            <a:ext cx="5333530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Data Classification: PUBLIC, ESO-605100_1</a:t>
            </a:r>
            <a:endParaRPr lang="en-GB" noProof="0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E22FAA5C-4C5C-25C0-8AA2-1268DF92F34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3114177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+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70803D47-E512-EF06-12E2-B7C74415E8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2919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70803D47-E512-EF06-12E2-B7C74415E8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DD711C6-3575-E329-8DF2-78A22FB75C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7888" y="409433"/>
            <a:ext cx="6096000" cy="5511942"/>
          </a:xfrm>
        </p:spPr>
        <p:txBody>
          <a:bodyPr vert="horz" anchor="ctr"/>
          <a:lstStyle>
            <a:lvl1pPr>
              <a:lnSpc>
                <a:spcPct val="120000"/>
              </a:lnSpc>
              <a:defRPr b="0" i="1">
                <a:solidFill>
                  <a:schemeClr val="bg2"/>
                </a:solidFill>
                <a:latin typeface="Georgia" panose="02040502050405020303" pitchFamily="18" charset="0"/>
              </a:defRPr>
            </a:lvl1pPr>
          </a:lstStyle>
          <a:p>
            <a:r>
              <a:rPr lang="en-GB" noProof="0" dirty="0"/>
              <a:t>Quote, Georgia, Italic, 30 pt</a:t>
            </a:r>
            <a:br>
              <a:rPr lang="en-GB" noProof="0" dirty="0"/>
            </a:br>
            <a:r>
              <a:rPr lang="en-GB" noProof="0" dirty="0"/>
              <a:t>No more than 5 lines of text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D1A2CCA-096A-39D7-4AD8-5CC50BA94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/>
              <a:t>13th MicroTCA Workshop for Industry and Research</a:t>
            </a:r>
            <a:endParaRPr lang="en-GB" i="1" noProof="0" dirty="0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EE650F25-37DB-98E4-5CF8-2CAC2449D2D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18312" y="1843109"/>
            <a:ext cx="2828529" cy="2829600"/>
          </a:xfrm>
          <a:prstGeom prst="ellipse">
            <a:avLst/>
          </a:prstGeom>
          <a:solidFill>
            <a:srgbClr val="D2108D"/>
          </a:solidFill>
        </p:spPr>
        <p:txBody>
          <a:bodyPr anchor="t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20" name="Textplatzhalter 4">
            <a:extLst>
              <a:ext uri="{FF2B5EF4-FFF2-40B4-BE49-F238E27FC236}">
                <a16:creationId xmlns:a16="http://schemas.microsoft.com/office/drawing/2014/main" id="{B5697DE0-7583-A41A-F976-2471323140F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36625" y="5002125"/>
            <a:ext cx="2791902" cy="919250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500" b="1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None/>
              <a:defRPr sz="1500" b="0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600"/>
              </a:spcBef>
              <a:buNone/>
              <a:defRPr sz="1280" b="0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80" b="0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600"/>
              </a:spcBef>
              <a:buNone/>
              <a:defRPr sz="1280" b="0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spcBef>
                <a:spcPts val="600"/>
              </a:spcBef>
              <a:buNone/>
              <a:defRPr sz="1280" b="0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80" b="0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80" b="0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8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First Name Surname</a:t>
            </a:r>
          </a:p>
          <a:p>
            <a:pPr lvl="1"/>
            <a:r>
              <a:rPr lang="en-GB" noProof="0" dirty="0"/>
              <a:t>Position</a:t>
            </a:r>
          </a:p>
          <a:p>
            <a:pPr lvl="2"/>
            <a:endParaRPr lang="de-CH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3765739-CD2F-8DC7-5976-CD1FE8BF355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6579" y="3558941"/>
            <a:ext cx="5347541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Data Classification: PUBLIC, ESO-605100_1</a:t>
            </a:r>
            <a:endParaRPr lang="en-GB" noProof="0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DCAD787F-CA08-939C-59CD-57F8A27451E0}"/>
              </a:ext>
            </a:extLst>
          </p:cNvPr>
          <p:cNvSpPr txBox="1">
            <a:spLocks/>
          </p:cNvSpPr>
          <p:nvPr userDrawn="1"/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0508817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Quote+I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9EC3DABE-D4E5-D351-963E-34FD93396B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13665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9EC3DABE-D4E5-D351-963E-34FD93396B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DD711C6-3575-E329-8DF2-78A22FB75C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37200" y="4012442"/>
            <a:ext cx="10317600" cy="832513"/>
          </a:xfrm>
        </p:spPr>
        <p:txBody>
          <a:bodyPr vert="horz" anchor="b"/>
          <a:lstStyle>
            <a:lvl1pPr algn="ctr">
              <a:lnSpc>
                <a:spcPct val="120000"/>
              </a:lnSpc>
              <a:defRPr b="0" i="1">
                <a:solidFill>
                  <a:schemeClr val="bg2"/>
                </a:solidFill>
                <a:latin typeface="Georgia" panose="02040502050405020303" pitchFamily="18" charset="0"/>
              </a:defRPr>
            </a:lvl1pPr>
          </a:lstStyle>
          <a:p>
            <a:r>
              <a:rPr lang="en-GB" noProof="0" dirty="0"/>
              <a:t>Short Quote, Georgia, Italic, 30 pt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EE650F25-37DB-98E4-5CF8-2CAC2449D2D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681736" y="1065186"/>
            <a:ext cx="2828529" cy="2829600"/>
          </a:xfrm>
          <a:prstGeom prst="ellipse">
            <a:avLst/>
          </a:prstGeom>
          <a:solidFill>
            <a:srgbClr val="D2108D"/>
          </a:solidFill>
        </p:spPr>
        <p:txBody>
          <a:bodyPr anchor="t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20" name="Textplatzhalter 4">
            <a:extLst>
              <a:ext uri="{FF2B5EF4-FFF2-40B4-BE49-F238E27FC236}">
                <a16:creationId xmlns:a16="http://schemas.microsoft.com/office/drawing/2014/main" id="{B5697DE0-7583-A41A-F976-2471323140F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1736" y="5513697"/>
            <a:ext cx="2828529" cy="596780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500" b="1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None/>
              <a:defRPr sz="1500" b="0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600"/>
              </a:spcBef>
              <a:buNone/>
              <a:defRPr sz="1280" b="0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80" b="0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600"/>
              </a:spcBef>
              <a:buNone/>
              <a:defRPr sz="1280" b="0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spcBef>
                <a:spcPts val="600"/>
              </a:spcBef>
              <a:buNone/>
              <a:defRPr sz="1280" b="0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80" b="0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80" b="0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8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First Name Surname</a:t>
            </a:r>
          </a:p>
          <a:p>
            <a:pPr lvl="1"/>
            <a:r>
              <a:rPr lang="en-GB" noProof="0" dirty="0"/>
              <a:t>Position</a:t>
            </a:r>
          </a:p>
          <a:p>
            <a:pPr lvl="2"/>
            <a:endParaRPr lang="de-CH" dirty="0"/>
          </a:p>
        </p:txBody>
      </p:sp>
      <p:cxnSp>
        <p:nvCxnSpPr>
          <p:cNvPr id="5" name="Gerader Verbinder 4">
            <a:extLst>
              <a:ext uri="{FF2B5EF4-FFF2-40B4-BE49-F238E27FC236}">
                <a16:creationId xmlns:a16="http://schemas.microsoft.com/office/drawing/2014/main" id="{8C43B717-B5B8-6114-C8A3-4E3DC6E2F403}"/>
              </a:ext>
            </a:extLst>
          </p:cNvPr>
          <p:cNvCxnSpPr/>
          <p:nvPr userDrawn="1"/>
        </p:nvCxnSpPr>
        <p:spPr>
          <a:xfrm>
            <a:off x="5376000" y="5179326"/>
            <a:ext cx="1440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F2DA2F4-6869-963F-1C8F-DC9A296EE59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noProof="0"/>
              <a:t>13th MicroTCA Workshop for Industry and Research</a:t>
            </a:r>
            <a:endParaRPr lang="en-GB" i="1" noProof="0" dirty="0"/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D24734D8-8B07-78D5-43B8-8F1E5049E5F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18099" y="3570460"/>
            <a:ext cx="5324502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Data Classification: PUBLIC, ESO-605100_1</a:t>
            </a:r>
            <a:endParaRPr lang="en-GB" noProof="0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C8CCC7B4-F4B9-6134-9B2E-4BEA839EA568}"/>
              </a:ext>
            </a:extLst>
          </p:cNvPr>
          <p:cNvSpPr txBox="1">
            <a:spLocks/>
          </p:cNvSpPr>
          <p:nvPr userDrawn="1"/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4526248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!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91A3CC9D-C8AC-9800-39AE-668220846C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43838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91A3CC9D-C8AC-9800-39AE-668220846C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956317E-20F6-4DD1-F84D-E40AE39EE33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37200" y="1577976"/>
            <a:ext cx="10317600" cy="892270"/>
          </a:xfrm>
        </p:spPr>
        <p:txBody>
          <a:bodyPr vert="horz" anchor="b"/>
          <a:lstStyle>
            <a:lvl1pPr algn="ctr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hank you!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A7200802-0D82-2861-8BEB-447967F556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37200" y="3477296"/>
            <a:ext cx="10317600" cy="1789740"/>
          </a:xfrm>
        </p:spPr>
        <p:txBody>
          <a:bodyPr/>
          <a:lstStyle>
            <a:lvl1pPr marL="0" indent="0" algn="ctr">
              <a:lnSpc>
                <a:spcPct val="111000"/>
              </a:lnSpc>
              <a:buNone/>
              <a:defRPr sz="1800" b="1" i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11000"/>
              </a:lnSpc>
              <a:buNone/>
              <a:defRPr sz="1800" b="1" i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11000"/>
              </a:lnSpc>
              <a:buNone/>
              <a:defRPr sz="1800" b="1" i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11000"/>
              </a:lnSpc>
              <a:buNone/>
              <a:defRPr sz="1800" b="1" i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11000"/>
              </a:lnSpc>
              <a:buNone/>
              <a:defRPr sz="1800" b="1" i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11000"/>
              </a:lnSpc>
              <a:buNone/>
              <a:defRPr sz="1800" b="1" i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11000"/>
              </a:lnSpc>
              <a:buNone/>
              <a:defRPr sz="1800" b="1" i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11000"/>
              </a:lnSpc>
              <a:buNone/>
              <a:defRPr sz="1800" b="1" i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11000"/>
              </a:lnSpc>
              <a:buNone/>
              <a:defRPr sz="1800" b="1" i="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en-GB" noProof="0" dirty="0"/>
              <a:t>Author’s informatio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241F204-6F2D-454B-4B2A-5AE567FE27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13th MicroTCA Workshop for Industry and Research</a:t>
            </a:r>
            <a:endParaRPr lang="en-GB" i="1" noProof="0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E0057D23-33FB-CFEA-DDE7-F0911EE720DC}"/>
              </a:ext>
            </a:extLst>
          </p:cNvPr>
          <p:cNvCxnSpPr/>
          <p:nvPr userDrawn="1"/>
        </p:nvCxnSpPr>
        <p:spPr>
          <a:xfrm>
            <a:off x="4692001" y="2937675"/>
            <a:ext cx="28080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A7184D4A-ABC6-73B7-3255-011F9072AA02}"/>
              </a:ext>
            </a:extLst>
          </p:cNvPr>
          <p:cNvCxnSpPr/>
          <p:nvPr userDrawn="1"/>
        </p:nvCxnSpPr>
        <p:spPr>
          <a:xfrm>
            <a:off x="0" y="6382322"/>
            <a:ext cx="608400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fik 3">
            <a:extLst>
              <a:ext uri="{FF2B5EF4-FFF2-40B4-BE49-F238E27FC236}">
                <a16:creationId xmlns:a16="http://schemas.microsoft.com/office/drawing/2014/main" id="{10BF81FC-50A5-9498-E3B5-98F18550603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3BACF552-8FB0-CAE7-0584-8327FAA9D38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12880" y="3557876"/>
            <a:ext cx="5334939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Data Classification: PUBLIC, ESO-605100_1</a:t>
            </a:r>
            <a:endParaRPr lang="en-GB" noProof="0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F7413DAC-6F2A-B640-BB3F-22EB0960CC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7728458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nect with E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Flags">
            <a:extLst>
              <a:ext uri="{FF2B5EF4-FFF2-40B4-BE49-F238E27FC236}">
                <a16:creationId xmlns:a16="http://schemas.microsoft.com/office/drawing/2014/main" id="{28A2FD6F-B5EB-75B2-792F-2B7BDB734F9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204867"/>
            <a:ext cx="6097313" cy="184179"/>
          </a:xfrm>
          <a:prstGeom prst="rect">
            <a:avLst/>
          </a:prstGeom>
        </p:spPr>
      </p:pic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E0057D23-33FB-CFEA-DDE7-F0911EE720DC}"/>
              </a:ext>
            </a:extLst>
          </p:cNvPr>
          <p:cNvCxnSpPr/>
          <p:nvPr userDrawn="1"/>
        </p:nvCxnSpPr>
        <p:spPr>
          <a:xfrm>
            <a:off x="4692001" y="3401704"/>
            <a:ext cx="28080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feld 5">
            <a:extLst>
              <a:ext uri="{FF2B5EF4-FFF2-40B4-BE49-F238E27FC236}">
                <a16:creationId xmlns:a16="http://schemas.microsoft.com/office/drawing/2014/main" id="{94812D6F-7F2D-9792-3A4B-B9117829B507}"/>
              </a:ext>
            </a:extLst>
          </p:cNvPr>
          <p:cNvSpPr txBox="1"/>
          <p:nvPr userDrawn="1"/>
        </p:nvSpPr>
        <p:spPr>
          <a:xfrm>
            <a:off x="1885666" y="2202954"/>
            <a:ext cx="842066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4000" b="1" noProof="0" dirty="0">
                <a:solidFill>
                  <a:schemeClr val="tx2"/>
                </a:solidFill>
              </a:rPr>
              <a:t>Connect with ESO</a:t>
            </a:r>
          </a:p>
        </p:txBody>
      </p:sp>
      <p:grpSp>
        <p:nvGrpSpPr>
          <p:cNvPr id="7" name="Icons social media">
            <a:extLst>
              <a:ext uri="{FF2B5EF4-FFF2-40B4-BE49-F238E27FC236}">
                <a16:creationId xmlns:a16="http://schemas.microsoft.com/office/drawing/2014/main" id="{3A749136-AA50-8556-2B2B-1212D11DF3FA}"/>
              </a:ext>
            </a:extLst>
          </p:cNvPr>
          <p:cNvGrpSpPr/>
          <p:nvPr userDrawn="1"/>
        </p:nvGrpSpPr>
        <p:grpSpPr>
          <a:xfrm>
            <a:off x="4692001" y="4037525"/>
            <a:ext cx="2808666" cy="536494"/>
            <a:chOff x="2527782" y="2733756"/>
            <a:chExt cx="2808666" cy="536494"/>
          </a:xfrm>
        </p:grpSpPr>
        <p:pic>
          <p:nvPicPr>
            <p:cNvPr id="10" name="Icon linkedin">
              <a:extLst>
                <a:ext uri="{FF2B5EF4-FFF2-40B4-BE49-F238E27FC236}">
                  <a16:creationId xmlns:a16="http://schemas.microsoft.com/office/drawing/2014/main" id="{1EF6A419-27B0-5B79-B0A3-B0BDAF71C649}"/>
                </a:ext>
              </a:extLst>
            </p:cNvPr>
            <p:cNvPicPr/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4804788" y="2733756"/>
              <a:ext cx="531660" cy="536494"/>
            </a:xfrm>
            <a:prstGeom prst="rect">
              <a:avLst/>
            </a:prstGeom>
          </p:spPr>
        </p:pic>
        <p:pic>
          <p:nvPicPr>
            <p:cNvPr id="12" name="Icon youtube">
              <a:extLst>
                <a:ext uri="{FF2B5EF4-FFF2-40B4-BE49-F238E27FC236}">
                  <a16:creationId xmlns:a16="http://schemas.microsoft.com/office/drawing/2014/main" id="{5EBDB13F-BAC1-1D0C-D007-E0504A0538BD}"/>
                </a:ext>
              </a:extLst>
            </p:cNvPr>
            <p:cNvPicPr/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4235013" y="2733756"/>
              <a:ext cx="531703" cy="536494"/>
            </a:xfrm>
            <a:prstGeom prst="rect">
              <a:avLst/>
            </a:prstGeom>
          </p:spPr>
        </p:pic>
        <p:pic>
          <p:nvPicPr>
            <p:cNvPr id="13" name="Icon twitter">
              <a:extLst>
                <a:ext uri="{FF2B5EF4-FFF2-40B4-BE49-F238E27FC236}">
                  <a16:creationId xmlns:a16="http://schemas.microsoft.com/office/drawing/2014/main" id="{3CCB1F1C-A2A9-87F6-4185-EAB2D0EAE0D0}"/>
                </a:ext>
              </a:extLst>
            </p:cNvPr>
            <p:cNvPicPr/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3667655" y="2733756"/>
              <a:ext cx="531703" cy="536494"/>
            </a:xfrm>
            <a:prstGeom prst="rect">
              <a:avLst/>
            </a:prstGeom>
          </p:spPr>
        </p:pic>
        <p:pic>
          <p:nvPicPr>
            <p:cNvPr id="14" name="Icon instagram">
              <a:extLst>
                <a:ext uri="{FF2B5EF4-FFF2-40B4-BE49-F238E27FC236}">
                  <a16:creationId xmlns:a16="http://schemas.microsoft.com/office/drawing/2014/main" id="{D10581A4-8FC9-7176-FC26-604E4386BEA2}"/>
                </a:ext>
              </a:extLst>
            </p:cNvPr>
            <p:cNvPicPr/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3092885" y="2733756"/>
              <a:ext cx="536494" cy="536494"/>
            </a:xfrm>
            <a:prstGeom prst="rect">
              <a:avLst/>
            </a:prstGeom>
          </p:spPr>
        </p:pic>
        <p:pic>
          <p:nvPicPr>
            <p:cNvPr id="15" name="Icon facebook">
              <a:extLst>
                <a:ext uri="{FF2B5EF4-FFF2-40B4-BE49-F238E27FC236}">
                  <a16:creationId xmlns:a16="http://schemas.microsoft.com/office/drawing/2014/main" id="{905A3959-BC47-7F0A-C7C1-18CBF2C04094}"/>
                </a:ext>
              </a:extLst>
            </p:cNvPr>
            <p:cNvPicPr/>
            <p:nvPr userDrawn="1"/>
          </p:nvPicPr>
          <p:blipFill>
            <a:blip r:embed="rId7"/>
            <a:stretch>
              <a:fillRect/>
            </a:stretch>
          </p:blipFill>
          <p:spPr>
            <a:xfrm>
              <a:off x="2527782" y="2733756"/>
              <a:ext cx="531703" cy="536494"/>
            </a:xfrm>
            <a:prstGeom prst="rect">
              <a:avLst/>
            </a:prstGeom>
          </p:spPr>
        </p:pic>
      </p:grp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D045A2E-5D04-4A34-24D6-B0E5A23C3D5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/>
              <a:t>13th MicroTCA Workshop for Industry and Research</a:t>
            </a:r>
            <a:endParaRPr lang="en-GB" i="1" noProof="0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43AF8119-9B4B-D4F5-3356-ED6090846198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2F6AEBF-45BD-AB32-079A-1B2E5D11E19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518" y="3561237"/>
            <a:ext cx="5341664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Data Classification: PUBLIC, ESO-605100_1</a:t>
            </a:r>
            <a:endParaRPr lang="en-GB" noProof="0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E7B467B1-BC6B-C29B-DB91-4D4076C82656}"/>
              </a:ext>
            </a:extLst>
          </p:cNvPr>
          <p:cNvSpPr txBox="1">
            <a:spLocks/>
          </p:cNvSpPr>
          <p:nvPr userDrawn="1"/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9488071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! + info + contac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>
            <a:extLst>
              <a:ext uri="{FF2B5EF4-FFF2-40B4-BE49-F238E27FC236}">
                <a16:creationId xmlns:a16="http://schemas.microsoft.com/office/drawing/2014/main" id="{65298FC2-5C65-CDAC-06E8-6185752CB3A8}"/>
              </a:ext>
            </a:extLst>
          </p:cNvPr>
          <p:cNvSpPr txBox="1"/>
          <p:nvPr userDrawn="1"/>
        </p:nvSpPr>
        <p:spPr>
          <a:xfrm>
            <a:off x="899999" y="1762360"/>
            <a:ext cx="10392001" cy="707886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en-GB" sz="4000" b="1" noProof="0" dirty="0">
                <a:solidFill>
                  <a:schemeClr val="tx2"/>
                </a:solidFill>
              </a:rPr>
              <a:t>Thank you!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241F204-6F2D-454B-4B2A-5AE567FE27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13th MicroTCA Workshop for Industry and Research</a:t>
            </a:r>
            <a:endParaRPr lang="en-GB" i="1" noProof="0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E0057D23-33FB-CFEA-DDE7-F0911EE720DC}"/>
              </a:ext>
            </a:extLst>
          </p:cNvPr>
          <p:cNvCxnSpPr/>
          <p:nvPr userDrawn="1"/>
        </p:nvCxnSpPr>
        <p:spPr>
          <a:xfrm>
            <a:off x="4692001" y="2937675"/>
            <a:ext cx="28080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Flags">
            <a:extLst>
              <a:ext uri="{FF2B5EF4-FFF2-40B4-BE49-F238E27FC236}">
                <a16:creationId xmlns:a16="http://schemas.microsoft.com/office/drawing/2014/main" id="{A764F50D-C111-1A06-50CF-DC02335D74E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204867"/>
            <a:ext cx="6097313" cy="184179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0C60E6F2-1258-CF2E-7F23-6017DCE2095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pic>
        <p:nvPicPr>
          <p:cNvPr id="10" name="Pic youtube">
            <a:extLst>
              <a:ext uri="{FF2B5EF4-FFF2-40B4-BE49-F238E27FC236}">
                <a16:creationId xmlns:a16="http://schemas.microsoft.com/office/drawing/2014/main" id="{F5778EB2-EC7E-C944-1A4F-764D740EB173}"/>
              </a:ext>
            </a:extLst>
          </p:cNvPr>
          <p:cNvPicPr/>
          <p:nvPr userDrawn="1"/>
        </p:nvPicPr>
        <p:blipFill>
          <a:blip r:embed="rId5"/>
          <a:stretch>
            <a:fillRect/>
          </a:stretch>
        </p:blipFill>
        <p:spPr>
          <a:xfrm>
            <a:off x="6329206" y="4912463"/>
            <a:ext cx="263821" cy="266198"/>
          </a:xfrm>
          <a:prstGeom prst="rect">
            <a:avLst/>
          </a:prstGeom>
        </p:spPr>
      </p:pic>
      <p:pic>
        <p:nvPicPr>
          <p:cNvPr id="12" name="Pic linkedin">
            <a:extLst>
              <a:ext uri="{FF2B5EF4-FFF2-40B4-BE49-F238E27FC236}">
                <a16:creationId xmlns:a16="http://schemas.microsoft.com/office/drawing/2014/main" id="{28B71ABF-94C6-D96A-F811-AB42C2ED77F1}"/>
              </a:ext>
            </a:extLst>
          </p:cNvPr>
          <p:cNvPicPr/>
          <p:nvPr userDrawn="1"/>
        </p:nvPicPr>
        <p:blipFill>
          <a:blip r:embed="rId6"/>
          <a:stretch>
            <a:fillRect/>
          </a:stretch>
        </p:blipFill>
        <p:spPr>
          <a:xfrm>
            <a:off x="6329214" y="4558461"/>
            <a:ext cx="263806" cy="266205"/>
          </a:xfrm>
          <a:prstGeom prst="rect">
            <a:avLst/>
          </a:prstGeom>
        </p:spPr>
      </p:pic>
      <p:pic>
        <p:nvPicPr>
          <p:cNvPr id="13" name="Pic twitter">
            <a:extLst>
              <a:ext uri="{FF2B5EF4-FFF2-40B4-BE49-F238E27FC236}">
                <a16:creationId xmlns:a16="http://schemas.microsoft.com/office/drawing/2014/main" id="{193A1D86-2C61-8597-CC7B-FBC3C56BEEED}"/>
              </a:ext>
            </a:extLst>
          </p:cNvPr>
          <p:cNvPicPr/>
          <p:nvPr userDrawn="1"/>
        </p:nvPicPr>
        <p:blipFill>
          <a:blip r:embed="rId7"/>
          <a:stretch>
            <a:fillRect/>
          </a:stretch>
        </p:blipFill>
        <p:spPr>
          <a:xfrm>
            <a:off x="6329202" y="4204458"/>
            <a:ext cx="263828" cy="266205"/>
          </a:xfrm>
          <a:prstGeom prst="rect">
            <a:avLst/>
          </a:prstGeom>
        </p:spPr>
      </p:pic>
      <p:pic>
        <p:nvPicPr>
          <p:cNvPr id="14" name="Pic instagram">
            <a:extLst>
              <a:ext uri="{FF2B5EF4-FFF2-40B4-BE49-F238E27FC236}">
                <a16:creationId xmlns:a16="http://schemas.microsoft.com/office/drawing/2014/main" id="{FF2FF84F-FCA8-2DD2-2641-3120179EB4D0}"/>
              </a:ext>
            </a:extLst>
          </p:cNvPr>
          <p:cNvPicPr/>
          <p:nvPr userDrawn="1"/>
        </p:nvPicPr>
        <p:blipFill>
          <a:blip r:embed="rId8"/>
          <a:stretch>
            <a:fillRect/>
          </a:stretch>
        </p:blipFill>
        <p:spPr>
          <a:xfrm>
            <a:off x="6328013" y="3850455"/>
            <a:ext cx="266205" cy="266205"/>
          </a:xfrm>
          <a:prstGeom prst="rect">
            <a:avLst/>
          </a:prstGeom>
        </p:spPr>
      </p:pic>
      <p:pic>
        <p:nvPicPr>
          <p:cNvPr id="15" name="Pic facebook">
            <a:extLst>
              <a:ext uri="{FF2B5EF4-FFF2-40B4-BE49-F238E27FC236}">
                <a16:creationId xmlns:a16="http://schemas.microsoft.com/office/drawing/2014/main" id="{5588B66B-7848-FD4D-45A9-05C46263FD12}"/>
              </a:ext>
            </a:extLst>
          </p:cNvPr>
          <p:cNvPicPr/>
          <p:nvPr userDrawn="1"/>
        </p:nvPicPr>
        <p:blipFill>
          <a:blip r:embed="rId9"/>
          <a:stretch>
            <a:fillRect/>
          </a:stretch>
        </p:blipFill>
        <p:spPr>
          <a:xfrm>
            <a:off x="6329202" y="3496452"/>
            <a:ext cx="263828" cy="266205"/>
          </a:xfrm>
          <a:prstGeom prst="rect">
            <a:avLst/>
          </a:prstGeom>
        </p:spPr>
      </p:pic>
      <p:sp>
        <p:nvSpPr>
          <p:cNvPr id="22" name="Textplatzhalter 4">
            <a:extLst>
              <a:ext uri="{FF2B5EF4-FFF2-40B4-BE49-F238E27FC236}">
                <a16:creationId xmlns:a16="http://schemas.microsoft.com/office/drawing/2014/main" id="{3A19D0BF-9500-27CE-3021-6A10627B7FA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0451" y="3496452"/>
            <a:ext cx="4483337" cy="266205"/>
          </a:xfrm>
        </p:spPr>
        <p:txBody>
          <a:bodyPr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@ESOAstronomy</a:t>
            </a:r>
          </a:p>
        </p:txBody>
      </p:sp>
      <p:sp>
        <p:nvSpPr>
          <p:cNvPr id="24" name="Textplatzhalter 4">
            <a:extLst>
              <a:ext uri="{FF2B5EF4-FFF2-40B4-BE49-F238E27FC236}">
                <a16:creationId xmlns:a16="http://schemas.microsoft.com/office/drawing/2014/main" id="{9822DA17-D0C5-C3B6-7E38-E052863F883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70451" y="3850454"/>
            <a:ext cx="4483337" cy="266205"/>
          </a:xfrm>
        </p:spPr>
        <p:txBody>
          <a:bodyPr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@esoastronomy</a:t>
            </a:r>
          </a:p>
        </p:txBody>
      </p:sp>
      <p:sp>
        <p:nvSpPr>
          <p:cNvPr id="25" name="Textplatzhalter 4">
            <a:extLst>
              <a:ext uri="{FF2B5EF4-FFF2-40B4-BE49-F238E27FC236}">
                <a16:creationId xmlns:a16="http://schemas.microsoft.com/office/drawing/2014/main" id="{123B96AF-E31A-3099-DF17-5D8E6ACBE75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770451" y="4204456"/>
            <a:ext cx="4483337" cy="266205"/>
          </a:xfrm>
        </p:spPr>
        <p:txBody>
          <a:bodyPr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@ESO</a:t>
            </a:r>
          </a:p>
        </p:txBody>
      </p:sp>
      <p:sp>
        <p:nvSpPr>
          <p:cNvPr id="26" name="Textplatzhalter 4">
            <a:extLst>
              <a:ext uri="{FF2B5EF4-FFF2-40B4-BE49-F238E27FC236}">
                <a16:creationId xmlns:a16="http://schemas.microsoft.com/office/drawing/2014/main" id="{D7C44FA6-0C68-7C62-FB9A-E592FB06B60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770451" y="4558458"/>
            <a:ext cx="4483337" cy="266205"/>
          </a:xfrm>
        </p:spPr>
        <p:txBody>
          <a:bodyPr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 err="1"/>
              <a:t>european</a:t>
            </a:r>
            <a:r>
              <a:rPr lang="en-GB" noProof="0" dirty="0"/>
              <a:t>-southern-observatory</a:t>
            </a:r>
          </a:p>
        </p:txBody>
      </p:sp>
      <p:sp>
        <p:nvSpPr>
          <p:cNvPr id="27" name="Textplatzhalter 4">
            <a:extLst>
              <a:ext uri="{FF2B5EF4-FFF2-40B4-BE49-F238E27FC236}">
                <a16:creationId xmlns:a16="http://schemas.microsoft.com/office/drawing/2014/main" id="{F0007E12-939A-F866-DC2D-DE999A871DF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770451" y="4912459"/>
            <a:ext cx="4483337" cy="266205"/>
          </a:xfrm>
        </p:spPr>
        <p:txBody>
          <a:bodyPr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@ESOobservatory</a:t>
            </a:r>
          </a:p>
        </p:txBody>
      </p:sp>
      <p:sp>
        <p:nvSpPr>
          <p:cNvPr id="29" name="Textplatzhalter 4">
            <a:extLst>
              <a:ext uri="{FF2B5EF4-FFF2-40B4-BE49-F238E27FC236}">
                <a16:creationId xmlns:a16="http://schemas.microsoft.com/office/drawing/2014/main" id="{CDC22D2D-5C3B-1EB3-466A-9E78C49AB91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36625" y="3496452"/>
            <a:ext cx="4938751" cy="1682212"/>
          </a:xfrm>
        </p:spPr>
        <p:txBody>
          <a:bodyPr/>
          <a:lstStyle>
            <a:lvl1pPr marL="0" indent="0" algn="r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800" b="1">
                <a:solidFill>
                  <a:schemeClr val="tx1"/>
                </a:solidFill>
              </a:defRPr>
            </a:lvl1pPr>
            <a:lvl2pPr marL="0" indent="0" algn="r">
              <a:lnSpc>
                <a:spcPct val="90000"/>
              </a:lnSpc>
              <a:spcBef>
                <a:spcPts val="750"/>
              </a:spcBef>
              <a:buNone/>
              <a:defRPr sz="1800" b="1">
                <a:solidFill>
                  <a:schemeClr val="tx1"/>
                </a:solidFill>
              </a:defRPr>
            </a:lvl2pPr>
            <a:lvl3pPr marL="0" indent="0" algn="r">
              <a:lnSpc>
                <a:spcPct val="90000"/>
              </a:lnSpc>
              <a:spcBef>
                <a:spcPts val="750"/>
              </a:spcBef>
              <a:buNone/>
              <a:defRPr sz="1800" b="1">
                <a:solidFill>
                  <a:schemeClr val="tx1"/>
                </a:solidFill>
              </a:defRPr>
            </a:lvl3pPr>
            <a:lvl4pPr marL="0" indent="0" algn="r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800" b="1">
                <a:solidFill>
                  <a:schemeClr val="tx1"/>
                </a:solidFill>
              </a:defRPr>
            </a:lvl4pPr>
            <a:lvl5pPr marL="0" indent="0" algn="r">
              <a:lnSpc>
                <a:spcPct val="90000"/>
              </a:lnSpc>
              <a:spcBef>
                <a:spcPts val="750"/>
              </a:spcBef>
              <a:buNone/>
              <a:defRPr sz="1800" b="1">
                <a:solidFill>
                  <a:schemeClr val="tx1"/>
                </a:solidFill>
              </a:defRPr>
            </a:lvl5pPr>
            <a:lvl6pPr marL="0" indent="0" algn="r">
              <a:lnSpc>
                <a:spcPct val="90000"/>
              </a:lnSpc>
              <a:spcBef>
                <a:spcPts val="750"/>
              </a:spcBef>
              <a:buNone/>
              <a:defRPr sz="1800" b="1">
                <a:solidFill>
                  <a:schemeClr val="tx1"/>
                </a:solidFill>
              </a:defRPr>
            </a:lvl6pPr>
            <a:lvl7pPr marL="0" indent="0" algn="r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800" b="1">
                <a:solidFill>
                  <a:schemeClr val="tx1"/>
                </a:solidFill>
              </a:defRPr>
            </a:lvl7pPr>
            <a:lvl8pPr marL="0" indent="0" algn="r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800" b="1">
                <a:solidFill>
                  <a:schemeClr val="tx1"/>
                </a:solidFill>
              </a:defRPr>
            </a:lvl8pPr>
            <a:lvl9pPr marL="0" indent="0" algn="r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800" b="1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Author’s info</a:t>
            </a:r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6D656607-9460-0FBB-C6E7-86922BA972E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518" y="3561237"/>
            <a:ext cx="5341664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Data Classification: PUBLIC, ESO-605100_1</a:t>
            </a:r>
            <a:endParaRPr lang="en-GB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BCF0F58-7413-92B5-091D-2524216F36BA}"/>
              </a:ext>
            </a:extLst>
          </p:cNvPr>
          <p:cNvSpPr txBox="1">
            <a:spLocks/>
          </p:cNvSpPr>
          <p:nvPr userDrawn="1"/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860564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AF73511-5300-CCC6-5C11-A8FDAEBF7B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87688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AF73511-5300-CCC6-5C11-A8FDAEBF7B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956317E-20F6-4DD1-F84D-E40AE39EE33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37848" y="1576800"/>
            <a:ext cx="10316307" cy="3722014"/>
          </a:xfrm>
        </p:spPr>
        <p:txBody>
          <a:bodyPr vert="horz" anchor="ctr"/>
          <a:lstStyle>
            <a:lvl1pPr algn="ctr">
              <a:lnSpc>
                <a:spcPct val="100000"/>
              </a:lnSpc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There could be a </a:t>
            </a:r>
            <a:br>
              <a:rPr lang="en-GB" noProof="0" dirty="0"/>
            </a:br>
            <a:r>
              <a:rPr lang="en-GB" noProof="0" dirty="0"/>
              <a:t>section title as well.</a:t>
            </a:r>
            <a:br>
              <a:rPr lang="en-GB" noProof="0" dirty="0"/>
            </a:br>
            <a:r>
              <a:rPr lang="en-GB" noProof="0" dirty="0"/>
              <a:t>Arial Bold, 40 pt, blue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CE3957A0-AB22-3832-DD70-E9DDB209C55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49035807-A58D-C6A4-D7C0-1E12619E1F7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Data Classification: PUBLIC, ESO-605100_1</a:t>
            </a:r>
            <a:endParaRPr lang="en-GB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31C37D7-F11D-6494-2E15-335F7B85337B}"/>
              </a:ext>
            </a:extLst>
          </p:cNvPr>
          <p:cNvSpPr txBox="1">
            <a:spLocks/>
          </p:cNvSpPr>
          <p:nvPr userDrawn="1"/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338448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82138C45-39CA-C7A7-7D76-AD2712A2A0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18884" y="451141"/>
            <a:ext cx="497477" cy="647783"/>
          </a:xfrm>
          <a:prstGeom prst="rect">
            <a:avLst/>
          </a:prstGeom>
        </p:spPr>
      </p:pic>
      <p:pic>
        <p:nvPicPr>
          <p:cNvPr id="2" name="Grafik 1">
            <a:extLst>
              <a:ext uri="{FF2B5EF4-FFF2-40B4-BE49-F238E27FC236}">
                <a16:creationId xmlns:a16="http://schemas.microsoft.com/office/drawing/2014/main" id="{F8E82346-05BA-CCC7-D114-7954D9FACF3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28105" y="399599"/>
            <a:ext cx="494970" cy="647783"/>
          </a:xfrm>
          <a:prstGeom prst="rect">
            <a:avLst/>
          </a:prstGeom>
        </p:spPr>
      </p:pic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30C562AB-F20A-0117-8ABB-4C6CAE32BA4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Data Classification: PUBLIC, ESO-605100_1</a:t>
            </a:r>
            <a:endParaRPr lang="en-GB" noProof="0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7873F94-186D-3156-FEFA-3F0B7F845A2A}"/>
              </a:ext>
            </a:extLst>
          </p:cNvPr>
          <p:cNvSpPr txBox="1">
            <a:spLocks/>
          </p:cNvSpPr>
          <p:nvPr userDrawn="1"/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17879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id="{2E99BFC8-D908-D520-263D-4D3BE7E3045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3" name="SmartArt-Platzhalter 5">
            <a:extLst>
              <a:ext uri="{FF2B5EF4-FFF2-40B4-BE49-F238E27FC236}">
                <a16:creationId xmlns:a16="http://schemas.microsoft.com/office/drawing/2014/main" id="{D0155401-1AEB-1D20-0D21-BFCA0D159CD7}"/>
              </a:ext>
            </a:extLst>
          </p:cNvPr>
          <p:cNvSpPr>
            <a:spLocks noGrp="1"/>
          </p:cNvSpPr>
          <p:nvPr>
            <p:ph type="dgm" sz="quarter" idx="11"/>
          </p:nvPr>
        </p:nvSpPr>
        <p:spPr>
          <a:xfrm>
            <a:off x="11228400" y="399599"/>
            <a:ext cx="497477" cy="64778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/>
              <a:t>Click icon to add SmartArt graphic</a:t>
            </a:r>
            <a:endParaRPr lang="de-CH"/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74B34766-A3BB-4165-CC57-2BE3C22A1D4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Data Classification: PUBLIC, ESO-605100_1</a:t>
            </a:r>
            <a:endParaRPr lang="en-GB" noProof="0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983450F8-6306-9500-F151-BDB19750364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6623791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T+I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id="{2E99BFC8-D908-D520-263D-4D3BE7E3045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Image Placehold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441D29C-1691-CDDD-3C33-210C79632C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en-GB" noProof="0" dirty="0"/>
              <a:t>Headline Arial bold, 30 pt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5B684C9-71E7-A0AE-9C9C-96A51523B51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36624" y="1576800"/>
            <a:ext cx="10317600" cy="3996008"/>
          </a:xfrm>
        </p:spPr>
        <p:txBody>
          <a:bodyPr anchor="ctr"/>
          <a:lstStyle>
            <a:lvl1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ctr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ctr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ctr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ctr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 dirty="0"/>
              <a:t>Text on full background image</a:t>
            </a:r>
          </a:p>
          <a:p>
            <a:pPr lvl="0"/>
            <a:r>
              <a:rPr lang="en-GB" noProof="0" dirty="0"/>
              <a:t>Arial, 24 pt, white, centre aligned</a:t>
            </a:r>
          </a:p>
        </p:txBody>
      </p:sp>
      <p:sp>
        <p:nvSpPr>
          <p:cNvPr id="6" name="SmartArt-Platzhalter 5">
            <a:extLst>
              <a:ext uri="{FF2B5EF4-FFF2-40B4-BE49-F238E27FC236}">
                <a16:creationId xmlns:a16="http://schemas.microsoft.com/office/drawing/2014/main" id="{433C8CD0-D1FB-D1D7-F1A0-5048999E0FED}"/>
              </a:ext>
            </a:extLst>
          </p:cNvPr>
          <p:cNvSpPr>
            <a:spLocks noGrp="1"/>
          </p:cNvSpPr>
          <p:nvPr>
            <p:ph type="dgm" sz="quarter" idx="11"/>
          </p:nvPr>
        </p:nvSpPr>
        <p:spPr>
          <a:xfrm>
            <a:off x="11228400" y="399599"/>
            <a:ext cx="497477" cy="64778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/>
              <a:t>Click icon to add SmartArt graphic</a:t>
            </a:r>
            <a:endParaRPr lang="de-CH"/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D85A207C-46C0-F407-78B2-6640ADE3C86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Data Classification: PUBLIC, ESO-605100_1</a:t>
            </a:r>
            <a:endParaRPr lang="en-GB" noProof="0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4C000D7-8B88-2B9E-A1D0-2A106D9C7D5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093264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T+BB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441D29C-1691-CDDD-3C33-210C79632C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/>
              </a:defRPr>
            </a:lvl1pPr>
          </a:lstStyle>
          <a:p>
            <a:r>
              <a:rPr lang="en-GB" noProof="0" dirty="0"/>
              <a:t>Headline Arial bold, 30 pt</a:t>
            </a:r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20D47E81-E9A6-BB7A-A5AC-082A992B80F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36624" y="1576800"/>
            <a:ext cx="10317600" cy="3996008"/>
          </a:xfrm>
        </p:spPr>
        <p:txBody>
          <a:bodyPr anchor="ctr"/>
          <a:lstStyle>
            <a:lvl1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>
                <a:solidFill>
                  <a:schemeClr val="bg1"/>
                </a:solidFill>
                <a:effectLst/>
                <a:latin typeface="+mn-lt"/>
              </a:defRPr>
            </a:lvl1pPr>
            <a:lvl2pPr marL="0" indent="0" algn="ctr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ctr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ctr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ctr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en-GB" noProof="0" dirty="0"/>
              <a:t>Text on blue background</a:t>
            </a:r>
          </a:p>
          <a:p>
            <a:pPr lvl="0"/>
            <a:r>
              <a:rPr lang="en-GB" noProof="0" dirty="0"/>
              <a:t>Arial, 24 pt, white, centre aligned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693884E-30FD-BE94-EB74-D5EBDFB37FA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 i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13th MicroTCA Workshop for Industry and Research</a:t>
            </a:r>
            <a:endParaRPr lang="en-GB" i="1" noProof="0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5C1DCEA-8A03-ED66-EC67-A829554C2C6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cxnSp>
        <p:nvCxnSpPr>
          <p:cNvPr id="4" name="Gerader Verbinder 3">
            <a:extLst>
              <a:ext uri="{FF2B5EF4-FFF2-40B4-BE49-F238E27FC236}">
                <a16:creationId xmlns:a16="http://schemas.microsoft.com/office/drawing/2014/main" id="{C01649B5-7285-2559-21A4-3C609DF08973}"/>
              </a:ext>
            </a:extLst>
          </p:cNvPr>
          <p:cNvCxnSpPr/>
          <p:nvPr userDrawn="1"/>
        </p:nvCxnSpPr>
        <p:spPr>
          <a:xfrm>
            <a:off x="0" y="6382322"/>
            <a:ext cx="608400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2524DA13-9979-4452-B6DE-309D7DC6A15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12880" y="3557876"/>
            <a:ext cx="5334939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Data Classification: PUBLIC, ESO-605100_1</a:t>
            </a:r>
            <a:endParaRPr lang="en-GB" noProof="0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A15F86A8-A2DE-F488-BBD2-CF6F753289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7847449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T+W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441D29C-1691-CDDD-3C33-210C79632C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  <a:effectLst/>
              </a:defRPr>
            </a:lvl1pPr>
          </a:lstStyle>
          <a:p>
            <a:r>
              <a:rPr lang="en-GB" noProof="0" dirty="0"/>
              <a:t>Headline Arial bold, 30 pt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5B684C9-71E7-A0AE-9C9C-96A51523B51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36624" y="1576800"/>
            <a:ext cx="10317600" cy="3996008"/>
          </a:xfrm>
        </p:spPr>
        <p:txBody>
          <a:bodyPr anchor="ctr"/>
          <a:lstStyle>
            <a:lvl1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1">
                <a:solidFill>
                  <a:schemeClr val="tx1"/>
                </a:solidFill>
                <a:effectLst/>
              </a:defRPr>
            </a:lvl1pPr>
            <a:lvl2pPr marL="0" indent="0" algn="ctr">
              <a:lnSpc>
                <a:spcPct val="118000"/>
              </a:lnSpc>
              <a:spcBef>
                <a:spcPts val="1200"/>
              </a:spcBef>
              <a:buNone/>
              <a:defRPr sz="2400" b="1">
                <a:solidFill>
                  <a:schemeClr val="tx1"/>
                </a:solidFill>
                <a:effectLst/>
              </a:defRPr>
            </a:lvl2pPr>
            <a:lvl3pPr marL="0" indent="0" algn="ctr">
              <a:lnSpc>
                <a:spcPct val="118000"/>
              </a:lnSpc>
              <a:spcBef>
                <a:spcPts val="1200"/>
              </a:spcBef>
              <a:buNone/>
              <a:defRPr sz="2400" b="1">
                <a:solidFill>
                  <a:schemeClr val="tx1"/>
                </a:solidFill>
                <a:effectLst/>
              </a:defRPr>
            </a:lvl3pPr>
            <a:lvl4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1">
                <a:solidFill>
                  <a:schemeClr val="tx1"/>
                </a:solidFill>
                <a:effectLst/>
              </a:defRPr>
            </a:lvl4pPr>
            <a:lvl5pPr marL="0" indent="0" algn="ctr">
              <a:lnSpc>
                <a:spcPct val="118000"/>
              </a:lnSpc>
              <a:spcBef>
                <a:spcPts val="1200"/>
              </a:spcBef>
              <a:buNone/>
              <a:defRPr sz="2400" b="1">
                <a:solidFill>
                  <a:schemeClr val="tx1"/>
                </a:solidFill>
                <a:effectLst/>
              </a:defRPr>
            </a:lvl5pPr>
            <a:lvl6pPr marL="0" indent="0" algn="ctr">
              <a:lnSpc>
                <a:spcPct val="118000"/>
              </a:lnSpc>
              <a:spcBef>
                <a:spcPts val="1200"/>
              </a:spcBef>
              <a:buNone/>
              <a:defRPr sz="2400" b="1">
                <a:solidFill>
                  <a:schemeClr val="tx1"/>
                </a:solidFill>
                <a:effectLst/>
              </a:defRPr>
            </a:lvl6pPr>
            <a:lvl7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1">
                <a:solidFill>
                  <a:schemeClr val="tx1"/>
                </a:solidFill>
                <a:effectLst/>
              </a:defRPr>
            </a:lvl7pPr>
            <a:lvl8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1">
                <a:solidFill>
                  <a:schemeClr val="tx1"/>
                </a:solidFill>
                <a:effectLst/>
              </a:defRPr>
            </a:lvl8pPr>
            <a:lvl9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1" i="0">
                <a:solidFill>
                  <a:schemeClr val="tx1"/>
                </a:solidFill>
                <a:effectLst/>
                <a:latin typeface="+mn-lt"/>
              </a:defRPr>
            </a:lvl9pPr>
          </a:lstStyle>
          <a:p>
            <a:pPr lvl="0"/>
            <a:r>
              <a:rPr lang="en-GB" noProof="0" dirty="0"/>
              <a:t>1-Column Text + white background</a:t>
            </a:r>
          </a:p>
          <a:p>
            <a:pPr lvl="0"/>
            <a:r>
              <a:rPr lang="en-GB" noProof="0" dirty="0"/>
              <a:t>Arial Bold, 24 pt, white, centre aligned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5A77A81-4D96-818A-C166-E1A70E33BA3F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noProof="0"/>
              <a:t>13th MicroTCA Workshop for Industry and Research</a:t>
            </a:r>
            <a:endParaRPr lang="en-GB" i="1" noProof="0" dirty="0"/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405B547A-BEF3-D0B6-BB29-EF55FF35F5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16665" y="3569026"/>
            <a:ext cx="5327370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Data Classification: PUBLIC, ESO-605100_1</a:t>
            </a:r>
            <a:endParaRPr lang="en-GB" noProof="0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B30A0426-815F-60A6-72EE-5C21B4DEC1E5}"/>
              </a:ext>
            </a:extLst>
          </p:cNvPr>
          <p:cNvSpPr txBox="1">
            <a:spLocks/>
          </p:cNvSpPr>
          <p:nvPr userDrawn="1"/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922340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+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6A60C7E-39E9-51BE-1364-9C9302742C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line Arial bold, 30 p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6284B66-A11B-B3CA-B1F8-30C04E3981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36624" y="2016000"/>
            <a:ext cx="10317164" cy="39053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 dirty="0"/>
              <a:t>Copy Arial, 18 pt</a:t>
            </a:r>
          </a:p>
          <a:p>
            <a:pPr lvl="1"/>
            <a:r>
              <a:rPr lang="en-GB" noProof="0" dirty="0"/>
              <a:t>First Bullet, 18 pt</a:t>
            </a:r>
          </a:p>
          <a:p>
            <a:pPr lvl="2"/>
            <a:r>
              <a:rPr lang="en-GB" noProof="0" dirty="0"/>
              <a:t>Second Bullet, 18 pt</a:t>
            </a:r>
          </a:p>
          <a:p>
            <a:pPr lvl="3"/>
            <a:r>
              <a:rPr lang="en-GB" noProof="0" dirty="0"/>
              <a:t>Subheading Arial bold, 18 pt</a:t>
            </a:r>
          </a:p>
          <a:p>
            <a:pPr lvl="4"/>
            <a:r>
              <a:rPr lang="en-GB" noProof="0" dirty="0"/>
              <a:t>Subheading Arial bold, 24 pt</a:t>
            </a:r>
          </a:p>
          <a:p>
            <a:pPr lvl="5"/>
            <a:r>
              <a:rPr lang="en-GB" noProof="0" dirty="0"/>
              <a:t>Quote, 24 pt, orange</a:t>
            </a:r>
          </a:p>
          <a:p>
            <a:pPr lvl="6"/>
            <a:r>
              <a:rPr lang="en-GB" noProof="0" dirty="0"/>
              <a:t>Copy Arial, 18 pt</a:t>
            </a:r>
          </a:p>
          <a:p>
            <a:pPr lvl="7"/>
            <a:r>
              <a:rPr lang="en-GB" noProof="0" dirty="0"/>
              <a:t>Copy Arial, 18 pt</a:t>
            </a:r>
          </a:p>
          <a:p>
            <a:pPr lvl="8"/>
            <a:r>
              <a:rPr lang="en-GB" noProof="0" dirty="0"/>
              <a:t>Copy Arial, 18 pt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01EC199-87F9-4D50-EA60-C5E098191F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13th MicroTCA Workshop for Industry and Research</a:t>
            </a:r>
            <a:endParaRPr lang="en-GB" i="1" noProof="0" dirty="0"/>
          </a:p>
        </p:txBody>
      </p:sp>
      <p:sp>
        <p:nvSpPr>
          <p:cNvPr id="12" name="Untertitel 6">
            <a:extLst>
              <a:ext uri="{FF2B5EF4-FFF2-40B4-BE49-F238E27FC236}">
                <a16:creationId xmlns:a16="http://schemas.microsoft.com/office/drawing/2014/main" id="{3E0265B8-51ED-B319-D61E-D75878236E6F}"/>
              </a:ext>
            </a:extLst>
          </p:cNvPr>
          <p:cNvSpPr>
            <a:spLocks noGrp="1"/>
          </p:cNvSpPr>
          <p:nvPr>
            <p:ph type="subTitle" sz="quarter" idx="12" hasCustomPrompt="1"/>
          </p:nvPr>
        </p:nvSpPr>
        <p:spPr>
          <a:xfrm>
            <a:off x="936624" y="1296812"/>
            <a:ext cx="8910639" cy="28549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2pPr>
            <a:lvl3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3pPr>
            <a:lvl4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4pPr>
            <a:lvl5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5pPr>
            <a:lvl6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6pPr>
            <a:lvl7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7pPr>
            <a:lvl8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8pPr>
            <a:lvl9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9pPr>
          </a:lstStyle>
          <a:p>
            <a:r>
              <a:rPr lang="en-GB" noProof="0" dirty="0"/>
              <a:t>Headline add-on, Arial Italic, 18 pt, orange</a:t>
            </a:r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B813303C-C1E6-DEEA-79FE-604C62A23AD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941" y="3562303"/>
            <a:ext cx="5340817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Data Classification: PUBLIC, ESO-605100_1</a:t>
            </a:r>
            <a:endParaRPr lang="en-GB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B122A8D-1DBE-BD85-92F3-EFE59AC18E5D}"/>
              </a:ext>
            </a:extLst>
          </p:cNvPr>
          <p:cNvSpPr txBox="1">
            <a:spLocks/>
          </p:cNvSpPr>
          <p:nvPr userDrawn="1"/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051578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Relationship Id="rId35" Type="http://schemas.openxmlformats.org/officeDocument/2006/relationships/image" Target="../media/image3.svg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D6331505-9ECA-3956-1067-E87CC20DB7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19188926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2" imgW="410" imgH="409" progId="TCLayout.ActiveDocument.1">
                  <p:embed/>
                </p:oleObj>
              </mc:Choice>
              <mc:Fallback>
                <p:oleObj name="think-cell Folie" r:id="rId32" imgW="410" imgH="409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D6331505-9ECA-3956-1067-E87CC20DB7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2B430F5F-5EE6-7217-0204-9D76CC0E21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36624" y="0"/>
            <a:ext cx="8910639" cy="113607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GB" noProof="0" dirty="0"/>
              <a:t>Headline Arial bold, 30 pt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61FBA3B-4EF4-7A72-C915-876AFB7AAE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36625" y="2014538"/>
            <a:ext cx="10317164" cy="39068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Copy Arial, 18 pt</a:t>
            </a:r>
          </a:p>
          <a:p>
            <a:pPr lvl="1"/>
            <a:r>
              <a:rPr lang="en-GB" noProof="0" dirty="0"/>
              <a:t>First Bullet, 18 pt</a:t>
            </a:r>
          </a:p>
          <a:p>
            <a:pPr lvl="2"/>
            <a:r>
              <a:rPr lang="en-GB" noProof="0" dirty="0"/>
              <a:t>Second Bullet, 18 pt</a:t>
            </a:r>
          </a:p>
          <a:p>
            <a:pPr lvl="3"/>
            <a:r>
              <a:rPr lang="en-GB" noProof="0" dirty="0"/>
              <a:t>Subheading Arial bold, 18 pt</a:t>
            </a:r>
          </a:p>
          <a:p>
            <a:pPr lvl="4"/>
            <a:r>
              <a:rPr lang="en-GB" noProof="0" dirty="0"/>
              <a:t>Subheading Arial bold, 24 pt</a:t>
            </a:r>
          </a:p>
          <a:p>
            <a:pPr lvl="5"/>
            <a:r>
              <a:rPr lang="en-GB" noProof="0" dirty="0"/>
              <a:t>Quote, 24 pt, orange</a:t>
            </a:r>
          </a:p>
          <a:p>
            <a:pPr lvl="6"/>
            <a:r>
              <a:rPr lang="en-GB" noProof="0" dirty="0"/>
              <a:t>Copy Arial, 18 pt</a:t>
            </a:r>
          </a:p>
          <a:p>
            <a:pPr lvl="7"/>
            <a:r>
              <a:rPr lang="en-GB" noProof="0" dirty="0"/>
              <a:t>Copy Arial, 18 pt</a:t>
            </a:r>
          </a:p>
          <a:p>
            <a:pPr lvl="8"/>
            <a:r>
              <a:rPr lang="en-GB" noProof="0" dirty="0"/>
              <a:t>Copy Arial, 18 pt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144BAAE-B800-7FD6-3DA7-97327451DED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36625" y="6532505"/>
            <a:ext cx="5147376" cy="175312"/>
          </a:xfrm>
          <a:prstGeom prst="rect">
            <a:avLst/>
          </a:prstGeom>
        </p:spPr>
        <p:txBody>
          <a:bodyPr vert="horz" lIns="0" tIns="0" rIns="0" bIns="18000" rtlCol="0" anchor="b">
            <a:noAutofit/>
          </a:bodyPr>
          <a:lstStyle>
            <a:lvl1pPr algn="l">
              <a:defRPr sz="900" i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13th MicroTCA Workshop for Industry and Research</a:t>
            </a:r>
            <a:endParaRPr lang="en-GB" i="1" noProof="0" dirty="0"/>
          </a:p>
        </p:txBody>
      </p: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93DEE3F7-A4A5-97B4-1A51-BC68FBBF3DCB}"/>
              </a:ext>
            </a:extLst>
          </p:cNvPr>
          <p:cNvCxnSpPr/>
          <p:nvPr userDrawn="1"/>
        </p:nvCxnSpPr>
        <p:spPr>
          <a:xfrm>
            <a:off x="0" y="6382322"/>
            <a:ext cx="6084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Grafik 29">
            <a:extLst>
              <a:ext uri="{FF2B5EF4-FFF2-40B4-BE49-F238E27FC236}">
                <a16:creationId xmlns:a16="http://schemas.microsoft.com/office/drawing/2014/main" id="{F986432C-5575-7D1B-27F5-31B6D699A418}"/>
              </a:ext>
            </a:extLst>
          </p:cNvPr>
          <p:cNvPicPr>
            <a:picLocks noChangeAspect="1"/>
          </p:cNvPicPr>
          <p:nvPr userDrawn="1"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45ECF14B-8906-1F35-8706-ADE4F50C4CB2}"/>
              </a:ext>
            </a:extLst>
          </p:cNvPr>
          <p:cNvSpPr txBox="1"/>
          <p:nvPr userDrawn="1"/>
        </p:nvSpPr>
        <p:spPr>
          <a:xfrm>
            <a:off x="5337270" y="1809178"/>
            <a:ext cx="1695355" cy="1028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de-DE"/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05E7D917-1DA2-1D17-CA57-6D03E4089C3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Data Classification: PUBLIC, ESO-605100_1</a:t>
            </a:r>
            <a:endParaRPr lang="en-GB" noProof="0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7540655A-129B-FC48-1858-C7C4EA66F6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890019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  <p:sldLayoutId id="2147483656" r:id="rId4"/>
    <p:sldLayoutId id="2147483657" r:id="rId5"/>
    <p:sldLayoutId id="2147483658" r:id="rId6"/>
    <p:sldLayoutId id="2147483660" r:id="rId7"/>
    <p:sldLayoutId id="2147483661" r:id="rId8"/>
    <p:sldLayoutId id="2147483653" r:id="rId9"/>
    <p:sldLayoutId id="2147483652" r:id="rId10"/>
    <p:sldLayoutId id="2147483663" r:id="rId11"/>
    <p:sldLayoutId id="2147483664" r:id="rId12"/>
    <p:sldLayoutId id="2147483665" r:id="rId13"/>
    <p:sldLayoutId id="2147483666" r:id="rId14"/>
    <p:sldLayoutId id="2147483667" r:id="rId15"/>
    <p:sldLayoutId id="2147483668" r:id="rId16"/>
    <p:sldLayoutId id="2147483669" r:id="rId17"/>
    <p:sldLayoutId id="2147483670" r:id="rId18"/>
    <p:sldLayoutId id="2147483671" r:id="rId19"/>
    <p:sldLayoutId id="2147483672" r:id="rId20"/>
    <p:sldLayoutId id="2147483681" r:id="rId21"/>
    <p:sldLayoutId id="2147483673" r:id="rId22"/>
    <p:sldLayoutId id="2147483674" r:id="rId23"/>
    <p:sldLayoutId id="2147483675" r:id="rId24"/>
    <p:sldLayoutId id="2147483676" r:id="rId25"/>
    <p:sldLayoutId id="2147483677" r:id="rId26"/>
    <p:sldLayoutId id="2147483678" r:id="rId27"/>
    <p:sldLayoutId id="2147483679" r:id="rId28"/>
    <p:sldLayoutId id="2147483680" r:id="rId29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12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2800" indent="-172800" algn="l" defTabSz="914400" rtl="0" eaLnBrk="1" latinLnBrk="0" hangingPunct="1">
        <a:lnSpc>
          <a:spcPct val="120000"/>
        </a:lnSpc>
        <a:spcBef>
          <a:spcPts val="1200"/>
        </a:spcBef>
        <a:buClr>
          <a:schemeClr val="tx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14800" indent="-172800" algn="l" defTabSz="914400" rtl="0" eaLnBrk="1" latinLnBrk="0" hangingPunct="1">
        <a:lnSpc>
          <a:spcPct val="120000"/>
        </a:lnSpc>
        <a:spcBef>
          <a:spcPts val="1200"/>
        </a:spcBef>
        <a:buClr>
          <a:schemeClr val="bg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111000"/>
        </a:lnSpc>
        <a:spcBef>
          <a:spcPts val="1200"/>
        </a:spcBef>
        <a:buFont typeface="Arial" panose="020B0604020202020204" pitchFamily="34" charset="0"/>
        <a:buNone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18000"/>
        </a:lnSpc>
        <a:spcBef>
          <a:spcPts val="1200"/>
        </a:spcBef>
        <a:buClr>
          <a:schemeClr val="tx2"/>
        </a:buClr>
        <a:buFont typeface="Arial" panose="020B0604020202020204" pitchFamily="34" charset="0"/>
        <a:buNone/>
        <a:defRPr sz="24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11000"/>
        </a:lnSpc>
        <a:spcBef>
          <a:spcPts val="1200"/>
        </a:spcBef>
        <a:buClr>
          <a:schemeClr val="bg2"/>
        </a:buClr>
        <a:buFont typeface="Arial" panose="020B0604020202020204" pitchFamily="34" charset="0"/>
        <a:buNone/>
        <a:defRPr sz="2400" i="1" kern="1200">
          <a:solidFill>
            <a:schemeClr val="bg2"/>
          </a:solidFill>
          <a:latin typeface="Georgia" panose="02040502050405020303" pitchFamily="18" charset="0"/>
          <a:ea typeface="+mn-ea"/>
          <a:cs typeface="+mn-cs"/>
        </a:defRPr>
      </a:lvl6pPr>
      <a:lvl7pPr marL="0" indent="0" algn="l" defTabSz="914400" rtl="0" eaLnBrk="1" latinLnBrk="0" hangingPunct="1">
        <a:lnSpc>
          <a:spcPct val="120000"/>
        </a:lnSpc>
        <a:spcBef>
          <a:spcPts val="1200"/>
        </a:spcBef>
        <a:buFont typeface="Arial" panose="020B0604020202020204" pitchFamily="34" charset="0"/>
        <a:buNone/>
        <a:defRPr sz="1800" b="0" i="0" kern="1200">
          <a:solidFill>
            <a:schemeClr val="tx1"/>
          </a:solidFill>
          <a:latin typeface="+mj-lt"/>
          <a:ea typeface="+mn-ea"/>
          <a:cs typeface="+mn-cs"/>
        </a:defRPr>
      </a:lvl7pPr>
      <a:lvl8pPr marL="0" indent="0" algn="l" defTabSz="914400" rtl="0" eaLnBrk="1" latinLnBrk="0" hangingPunct="1">
        <a:lnSpc>
          <a:spcPct val="120000"/>
        </a:lnSpc>
        <a:spcBef>
          <a:spcPts val="1200"/>
        </a:spcBef>
        <a:buFont typeface="Arial" panose="020B0604020202020204" pitchFamily="34" charset="0"/>
        <a:buNone/>
        <a:defRPr sz="1800" b="0" i="0" kern="1200">
          <a:solidFill>
            <a:schemeClr val="tx1"/>
          </a:solidFill>
          <a:latin typeface="+mj-lt"/>
          <a:ea typeface="+mn-ea"/>
          <a:cs typeface="+mn-cs"/>
        </a:defRPr>
      </a:lvl8pPr>
      <a:lvl9pPr marL="0" indent="0" algn="l" defTabSz="914400" rtl="0" eaLnBrk="1" latinLnBrk="0" hangingPunct="1">
        <a:lnSpc>
          <a:spcPct val="120000"/>
        </a:lnSpc>
        <a:spcBef>
          <a:spcPts val="1200"/>
        </a:spcBef>
        <a:buFont typeface="Arial" panose="020B0604020202020204" pitchFamily="34" charset="0"/>
        <a:buNone/>
        <a:defRPr sz="1800" b="0" i="0" kern="1200">
          <a:solidFill>
            <a:schemeClr val="tx1"/>
          </a:solidFill>
          <a:latin typeface="+mj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userDrawn="1">
          <p15:clr>
            <a:srgbClr val="F26B43"/>
          </p15:clr>
        </p15:guide>
        <p15:guide id="2" pos="7680" userDrawn="1">
          <p15:clr>
            <a:srgbClr val="F26B43"/>
          </p15:clr>
        </p15:guide>
        <p15:guide id="3" pos="295" userDrawn="1">
          <p15:clr>
            <a:srgbClr val="F26B43"/>
          </p15:clr>
        </p15:guide>
        <p15:guide id="4" pos="590" userDrawn="1">
          <p15:clr>
            <a:srgbClr val="F26B43"/>
          </p15:clr>
        </p15:guide>
        <p15:guide id="5" pos="886" userDrawn="1">
          <p15:clr>
            <a:srgbClr val="F26B43"/>
          </p15:clr>
        </p15:guide>
        <p15:guide id="6" pos="1181" userDrawn="1">
          <p15:clr>
            <a:srgbClr val="F26B43"/>
          </p15:clr>
        </p15:guide>
        <p15:guide id="7" pos="1476" userDrawn="1">
          <p15:clr>
            <a:srgbClr val="F26B43"/>
          </p15:clr>
        </p15:guide>
        <p15:guide id="8" pos="1772" userDrawn="1">
          <p15:clr>
            <a:srgbClr val="F26B43"/>
          </p15:clr>
        </p15:guide>
        <p15:guide id="9" pos="2067" userDrawn="1">
          <p15:clr>
            <a:srgbClr val="F26B43"/>
          </p15:clr>
        </p15:guide>
        <p15:guide id="10" pos="2363" userDrawn="1">
          <p15:clr>
            <a:srgbClr val="F26B43"/>
          </p15:clr>
        </p15:guide>
        <p15:guide id="11" pos="2658" userDrawn="1">
          <p15:clr>
            <a:srgbClr val="F26B43"/>
          </p15:clr>
        </p15:guide>
        <p15:guide id="12" pos="2953" userDrawn="1">
          <p15:clr>
            <a:srgbClr val="F26B43"/>
          </p15:clr>
        </p15:guide>
        <p15:guide id="13" pos="3249" userDrawn="1">
          <p15:clr>
            <a:srgbClr val="F26B43"/>
          </p15:clr>
        </p15:guide>
        <p15:guide id="14" pos="3544" userDrawn="1">
          <p15:clr>
            <a:srgbClr val="F26B43"/>
          </p15:clr>
        </p15:guide>
        <p15:guide id="15" pos="3840" userDrawn="1">
          <p15:clr>
            <a:srgbClr val="F26B43"/>
          </p15:clr>
        </p15:guide>
        <p15:guide id="16" pos="4135" userDrawn="1">
          <p15:clr>
            <a:srgbClr val="F26B43"/>
          </p15:clr>
        </p15:guide>
        <p15:guide id="17" pos="4430" userDrawn="1">
          <p15:clr>
            <a:srgbClr val="F26B43"/>
          </p15:clr>
        </p15:guide>
        <p15:guide id="18" pos="4726" userDrawn="1">
          <p15:clr>
            <a:srgbClr val="F26B43"/>
          </p15:clr>
        </p15:guide>
        <p15:guide id="19" pos="5021" userDrawn="1">
          <p15:clr>
            <a:srgbClr val="F26B43"/>
          </p15:clr>
        </p15:guide>
        <p15:guide id="20" pos="5316" userDrawn="1">
          <p15:clr>
            <a:srgbClr val="F26B43"/>
          </p15:clr>
        </p15:guide>
        <p15:guide id="21" pos="5612" userDrawn="1">
          <p15:clr>
            <a:srgbClr val="F26B43"/>
          </p15:clr>
        </p15:guide>
        <p15:guide id="22" pos="5907" userDrawn="1">
          <p15:clr>
            <a:srgbClr val="F26B43"/>
          </p15:clr>
        </p15:guide>
        <p15:guide id="23" pos="6203" userDrawn="1">
          <p15:clr>
            <a:srgbClr val="F26B43"/>
          </p15:clr>
        </p15:guide>
        <p15:guide id="24" pos="6498" userDrawn="1">
          <p15:clr>
            <a:srgbClr val="F26B43"/>
          </p15:clr>
        </p15:guide>
        <p15:guide id="25" pos="6793" userDrawn="1">
          <p15:clr>
            <a:srgbClr val="F26B43"/>
          </p15:clr>
        </p15:guide>
        <p15:guide id="26" pos="7089" userDrawn="1">
          <p15:clr>
            <a:srgbClr val="F26B43"/>
          </p15:clr>
        </p15:guide>
        <p15:guide id="27" pos="7384" userDrawn="1">
          <p15:clr>
            <a:srgbClr val="F26B43"/>
          </p15:clr>
        </p15:guide>
        <p15:guide id="28" orient="horz" userDrawn="1">
          <p15:clr>
            <a:srgbClr val="F26B43"/>
          </p15:clr>
        </p15:guide>
        <p15:guide id="29" orient="horz" pos="4320" userDrawn="1">
          <p15:clr>
            <a:srgbClr val="F26B43"/>
          </p15:clr>
        </p15:guide>
        <p15:guide id="30" orient="horz" pos="249" userDrawn="1">
          <p15:clr>
            <a:srgbClr val="F26B43"/>
          </p15:clr>
        </p15:guide>
        <p15:guide id="31" orient="horz" pos="402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hyperlink" Target="https://www.flaticon.com/free-icons/server" TargetMode="External"/><Relationship Id="rId7" Type="http://schemas.openxmlformats.org/officeDocument/2006/relationships/image" Target="../media/image32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31.jpeg"/><Relationship Id="rId11" Type="http://schemas.openxmlformats.org/officeDocument/2006/relationships/image" Target="../media/image35.png"/><Relationship Id="rId5" Type="http://schemas.openxmlformats.org/officeDocument/2006/relationships/hyperlink" Target="https://www.flaticon.com/free-icons/computer" TargetMode="External"/><Relationship Id="rId10" Type="http://schemas.openxmlformats.org/officeDocument/2006/relationships/image" Target="../media/image34.png"/><Relationship Id="rId4" Type="http://schemas.openxmlformats.org/officeDocument/2006/relationships/image" Target="../media/image30.png"/><Relationship Id="rId9" Type="http://schemas.openxmlformats.org/officeDocument/2006/relationships/hyperlink" Target="https://www.flaticon.com/free-icons/database" TargetMode="Externa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g"/><Relationship Id="rId1" Type="http://schemas.openxmlformats.org/officeDocument/2006/relationships/slideLayout" Target="../slideLayouts/slideLayout2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doi.org/10.48550/arXiv.2410.22965" TargetMode="External"/><Relationship Id="rId2" Type="http://schemas.openxmlformats.org/officeDocument/2006/relationships/hyperlink" Target="https://doi.org/10.1117/1.JATIS.10.4.046001" TargetMode="Externa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5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20.jpeg"/><Relationship Id="rId5" Type="http://schemas.openxmlformats.org/officeDocument/2006/relationships/image" Target="../media/image19.jpeg"/><Relationship Id="rId4" Type="http://schemas.openxmlformats.org/officeDocument/2006/relationships/image" Target="../media/image18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7" Type="http://schemas.openxmlformats.org/officeDocument/2006/relationships/image" Target="../media/image21.jpe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20.jpeg"/><Relationship Id="rId5" Type="http://schemas.openxmlformats.org/officeDocument/2006/relationships/image" Target="../media/image19.jpeg"/><Relationship Id="rId4" Type="http://schemas.openxmlformats.org/officeDocument/2006/relationships/image" Target="../media/image18.jpe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8566E0C-FA6E-54A2-225D-2AF65AECB4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76492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58566E0C-FA6E-54A2-225D-2AF65AECB4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099AAC83-6D97-6BEC-F0E9-9B61E26881F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2600" dirty="0"/>
              <a:t>The Path to Series Production of the MicroTCA.4 Based Scientific Detector Controller (NGCII) for the Extremely Large Telescope</a:t>
            </a:r>
            <a:endParaRPr lang="en-GB" sz="2600" dirty="0"/>
          </a:p>
        </p:txBody>
      </p:sp>
      <p:sp>
        <p:nvSpPr>
          <p:cNvPr id="5" name="Untertitel 4">
            <a:extLst>
              <a:ext uri="{FF2B5EF4-FFF2-40B4-BE49-F238E27FC236}">
                <a16:creationId xmlns:a16="http://schemas.microsoft.com/office/drawing/2014/main" id="{7C57B5CD-E0DE-E06E-AA7B-0AFFC187325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u="sng" dirty="0"/>
              <a:t>Mathias Richerzhagen</a:t>
            </a:r>
            <a:r>
              <a:rPr lang="en-GB" dirty="0"/>
              <a:t>, Matthias Seidel</a:t>
            </a:r>
          </a:p>
          <a:p>
            <a:r>
              <a:rPr lang="en-GB" dirty="0"/>
              <a:t>Max Engelhardt, Alexander Rüde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C8DF2062-2DE8-6125-3A32-7529A00C024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13th MicroTCA Workshop for Industry and Research</a:t>
            </a:r>
            <a:endParaRPr lang="de-CH" i="1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D1D97568-A082-0238-0616-D1B047216E98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Data Classification: PUBLIC, ESO-605100_1</a:t>
            </a:r>
            <a:endParaRPr lang="en-GB" dirty="0"/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id="{9822CE10-9A6A-7EAF-834E-E1555D3B77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1311266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4159FCD-162A-14F4-2206-6FA37010D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MOS System Finalized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2192BD0-5241-2075-560C-695034247A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3th MicroTCA Workshop for Industry and Research</a:t>
            </a:r>
            <a:endParaRPr lang="de-CH" i="1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66463F8D-BD74-F879-888A-1C977688672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Data Classification: PUBLIC, ESO-605100_1</a:t>
            </a:r>
            <a:endParaRPr lang="en-GB" dirty="0"/>
          </a:p>
        </p:txBody>
      </p:sp>
      <p:pic>
        <p:nvPicPr>
          <p:cNvPr id="3" name="Picture 2" descr="A screenshot of a computer screen&#10;&#10;Description automatically generated">
            <a:extLst>
              <a:ext uri="{FF2B5EF4-FFF2-40B4-BE49-F238E27FC236}">
                <a16:creationId xmlns:a16="http://schemas.microsoft.com/office/drawing/2014/main" id="{E156D106-3361-0F29-717F-EAEBFAB6E10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4551" y="1659918"/>
            <a:ext cx="6584259" cy="455754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9A9BC0F-D342-F8C5-D125-9ADB800728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71792" y="1802404"/>
            <a:ext cx="3492382" cy="759916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17C96DA-DDC6-CA41-DFB9-34ECCCDB886C}"/>
              </a:ext>
            </a:extLst>
          </p:cNvPr>
          <p:cNvSpPr txBox="1"/>
          <p:nvPr/>
        </p:nvSpPr>
        <p:spPr>
          <a:xfrm>
            <a:off x="7555604" y="2884208"/>
            <a:ext cx="37609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HAWAII-2RG </a:t>
            </a:r>
            <a:r>
              <a:rPr lang="en-US" b="1" dirty="0"/>
              <a:t>fast mode </a:t>
            </a:r>
            <a:r>
              <a:rPr lang="en-US" dirty="0"/>
              <a:t>noise is detector limited as for NGC1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83F07B5-E298-C30D-BB10-EBE5FD1C110E}"/>
              </a:ext>
            </a:extLst>
          </p:cNvPr>
          <p:cNvSpPr txBox="1"/>
          <p:nvPr/>
        </p:nvSpPr>
        <p:spPr>
          <a:xfrm>
            <a:off x="7571792" y="3636152"/>
            <a:ext cx="376098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HAWAII-2RG </a:t>
            </a:r>
            <a:r>
              <a:rPr lang="en-US" b="1" dirty="0"/>
              <a:t>slow mode </a:t>
            </a:r>
            <a:r>
              <a:rPr lang="en-US" dirty="0"/>
              <a:t>achieving noise levels not seen before at &lt;10e− for simple CDS.</a:t>
            </a:r>
          </a:p>
        </p:txBody>
      </p:sp>
    </p:spTree>
    <p:extLst>
      <p:ext uri="{BB962C8B-B14F-4D97-AF65-F5344CB8AC3E}">
        <p14:creationId xmlns:p14="http://schemas.microsoft.com/office/powerpoint/2010/main" val="41313177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4159FCD-162A-14F4-2206-6FA37010D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MOS System Finalized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2192BD0-5241-2075-560C-695034247A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3th MicroTCA Workshop for Industry and Research</a:t>
            </a:r>
            <a:endParaRPr lang="de-CH" i="1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66463F8D-BD74-F879-888A-1C977688672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Data Classification: PUBLIC, ESO-605100_1</a:t>
            </a:r>
            <a:endParaRPr lang="en-GB" dirty="0"/>
          </a:p>
        </p:txBody>
      </p:sp>
      <p:pic>
        <p:nvPicPr>
          <p:cNvPr id="9" name="Picture 8" descr="A screen shot of a graph&#10;&#10;Description automatically generated">
            <a:extLst>
              <a:ext uri="{FF2B5EF4-FFF2-40B4-BE49-F238E27FC236}">
                <a16:creationId xmlns:a16="http://schemas.microsoft.com/office/drawing/2014/main" id="{00A9BA78-3E9A-2BA1-F7E1-4A379778F89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6650" y="1833484"/>
            <a:ext cx="8637363" cy="372770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F64DA846-92C4-E87F-44BE-EC4BB83B4D90}"/>
              </a:ext>
            </a:extLst>
          </p:cNvPr>
          <p:cNvSpPr txBox="1"/>
          <p:nvPr/>
        </p:nvSpPr>
        <p:spPr>
          <a:xfrm>
            <a:off x="2493329" y="5677514"/>
            <a:ext cx="686162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HAWAII-2RG running at 30fps without observable hot-pixel trailing</a:t>
            </a:r>
          </a:p>
        </p:txBody>
      </p:sp>
    </p:spTree>
    <p:extLst>
      <p:ext uri="{BB962C8B-B14F-4D97-AF65-F5344CB8AC3E}">
        <p14:creationId xmlns:p14="http://schemas.microsoft.com/office/powerpoint/2010/main" val="222351824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4159FCD-162A-14F4-2206-6FA37010D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MOS System Productio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2192BD0-5241-2075-560C-695034247A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3th MicroTCA Workshop for Industry and Research</a:t>
            </a:r>
            <a:endParaRPr lang="de-CH" i="1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66463F8D-BD74-F879-888A-1C977688672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dirty="0"/>
              <a:t>Data Classification: PUBLIC, ESO-605100_1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EF61784-B20E-32A4-FDD5-B6EF1605552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36624" y="1577975"/>
            <a:ext cx="6609582" cy="4343400"/>
          </a:xfrm>
        </p:spPr>
        <p:txBody>
          <a:bodyPr/>
          <a:lstStyle/>
          <a:p>
            <a:pPr marL="515700" lvl="1" indent="-342900">
              <a:buSzPct val="100000"/>
            </a:pPr>
            <a:r>
              <a:rPr lang="en-US" dirty="0"/>
              <a:t>COTS Components available for ~25 systems</a:t>
            </a:r>
          </a:p>
          <a:p>
            <a:pPr marL="857700" lvl="2" indent="-342900">
              <a:buSzPct val="100000"/>
            </a:pPr>
            <a:r>
              <a:rPr lang="en-US" dirty="0"/>
              <a:t>Will procure:</a:t>
            </a:r>
          </a:p>
          <a:p>
            <a:pPr marL="857700" lvl="2" indent="-342900">
              <a:buSzPct val="100000"/>
            </a:pPr>
            <a:r>
              <a:rPr lang="en-US" dirty="0"/>
              <a:t>6-Slot shelves (Req. </a:t>
            </a:r>
            <a:r>
              <a:rPr lang="en-US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ESO-394252)</a:t>
            </a:r>
          </a:p>
          <a:p>
            <a:pPr marL="857700" lvl="2" indent="-342900">
              <a:buSzPct val="100000"/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Zynq US+ FPGA Modules D1.2 (Req.</a:t>
            </a:r>
            <a:r>
              <a:rPr lang="en-US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 ESO-393209)</a:t>
            </a:r>
          </a:p>
          <a:p>
            <a:pPr marL="515700" lvl="1" indent="-342900">
              <a:buSzPct val="100000"/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ESO designed CMOS modules in pre-series</a:t>
            </a:r>
          </a:p>
          <a:p>
            <a:pPr marL="857700" lvl="2" indent="-342900">
              <a:buSzPct val="100000"/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Fully functional</a:t>
            </a:r>
          </a:p>
          <a:p>
            <a:pPr marL="857700" lvl="2" indent="-342900">
              <a:buSzPct val="100000"/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Still missing environmental test</a:t>
            </a:r>
          </a:p>
          <a:p>
            <a:pPr marL="857700" lvl="2" indent="-342900">
              <a:buSzPct val="100000"/>
            </a:pPr>
            <a:r>
              <a:rPr lang="en-US" dirty="0"/>
              <a:t>Fully tested by manufacturing company</a:t>
            </a:r>
          </a:p>
          <a:p>
            <a:pPr marL="857700" lvl="2" indent="-342900">
              <a:buSzPct val="100000"/>
            </a:pPr>
            <a:r>
              <a:rPr lang="en-US" dirty="0"/>
              <a:t>Enough for ~10 systems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C39C80B3-9651-93F1-950C-CD6EED2B376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16657" y="1236885"/>
            <a:ext cx="3738719" cy="4984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999588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4159FCD-162A-14F4-2206-6FA37010D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esign Quality Measures in Workflow 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2192BD0-5241-2075-560C-695034247A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3th MicroTCA Workshop for Industry and Research</a:t>
            </a:r>
            <a:endParaRPr lang="de-CH" i="1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66463F8D-BD74-F879-888A-1C977688672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dirty="0"/>
              <a:t>Data Classification: PUBLIC, ESO-605100_1</a:t>
            </a:r>
            <a:endParaRPr lang="en-GB" dirty="0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39284A83-0E6C-D549-DB1A-293F70EC4D99}"/>
              </a:ext>
            </a:extLst>
          </p:cNvPr>
          <p:cNvGrpSpPr/>
          <p:nvPr/>
        </p:nvGrpSpPr>
        <p:grpSpPr>
          <a:xfrm>
            <a:off x="6715130" y="1736432"/>
            <a:ext cx="1600297" cy="1600297"/>
            <a:chOff x="4726960" y="1729067"/>
            <a:chExt cx="2000297" cy="2000297"/>
          </a:xfrm>
        </p:grpSpPr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D0F58316-E64C-6A0C-9E36-C244C3DA153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4726960" y="1729067"/>
              <a:ext cx="2000297" cy="2000297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7E4D2220-3805-385C-E42F-21CD97EE4F6F}"/>
                </a:ext>
              </a:extLst>
            </p:cNvPr>
            <p:cNvSpPr txBox="1"/>
            <p:nvPr/>
          </p:nvSpPr>
          <p:spPr>
            <a:xfrm>
              <a:off x="5273460" y="2953960"/>
              <a:ext cx="817853" cy="1692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500" dirty="0" err="1">
                  <a:hlinkClick r:id="rId3"/>
                </a:rPr>
                <a:t>Payungkead</a:t>
              </a:r>
              <a:r>
                <a:rPr lang="en-US" sz="500" dirty="0">
                  <a:hlinkClick r:id="rId3"/>
                </a:rPr>
                <a:t> - </a:t>
              </a:r>
              <a:r>
                <a:rPr lang="en-US" sz="500" dirty="0" err="1">
                  <a:hlinkClick r:id="rId3"/>
                </a:rPr>
                <a:t>Flaticon</a:t>
              </a:r>
              <a:endParaRPr lang="en-US" sz="500" dirty="0"/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7F019576-724E-D89F-261E-DC6AA9056EA6}"/>
              </a:ext>
            </a:extLst>
          </p:cNvPr>
          <p:cNvGrpSpPr/>
          <p:nvPr/>
        </p:nvGrpSpPr>
        <p:grpSpPr>
          <a:xfrm>
            <a:off x="936624" y="1616794"/>
            <a:ext cx="1729574" cy="1923608"/>
            <a:chOff x="936624" y="1453164"/>
            <a:chExt cx="2142423" cy="2142423"/>
          </a:xfrm>
        </p:grpSpPr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5D784066-6456-BB83-C3EC-C37021333B0A}"/>
                </a:ext>
              </a:extLst>
            </p:cNvPr>
            <p:cNvGrpSpPr/>
            <p:nvPr/>
          </p:nvGrpSpPr>
          <p:grpSpPr>
            <a:xfrm>
              <a:off x="936624" y="1453164"/>
              <a:ext cx="2142423" cy="2142423"/>
              <a:chOff x="936624" y="1586941"/>
              <a:chExt cx="2142423" cy="2142423"/>
            </a:xfrm>
          </p:grpSpPr>
          <p:pic>
            <p:nvPicPr>
              <p:cNvPr id="16" name="Picture 15">
                <a:extLst>
                  <a:ext uri="{FF2B5EF4-FFF2-40B4-BE49-F238E27FC236}">
                    <a16:creationId xmlns:a16="http://schemas.microsoft.com/office/drawing/2014/main" id="{2DCB5B95-3F89-8BE2-B43B-00D9EBA1273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936624" y="1586941"/>
                <a:ext cx="2142423" cy="2142423"/>
              </a:xfrm>
              <a:prstGeom prst="rect">
                <a:avLst/>
              </a:prstGeom>
            </p:spPr>
          </p:pic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2F7069BD-CF1F-0469-CFEE-8762A709D05F}"/>
                  </a:ext>
                </a:extLst>
              </p:cNvPr>
              <p:cNvSpPr txBox="1"/>
              <p:nvPr/>
            </p:nvSpPr>
            <p:spPr>
              <a:xfrm>
                <a:off x="2060574" y="3029934"/>
                <a:ext cx="721671" cy="1692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500" dirty="0" err="1">
                    <a:hlinkClick r:id="rId5"/>
                  </a:rPr>
                  <a:t>xnimrodx</a:t>
                </a:r>
                <a:r>
                  <a:rPr lang="en-US" sz="500" dirty="0">
                    <a:hlinkClick r:id="rId5"/>
                  </a:rPr>
                  <a:t> - </a:t>
                </a:r>
                <a:r>
                  <a:rPr lang="en-US" sz="500" dirty="0" err="1">
                    <a:hlinkClick r:id="rId5"/>
                  </a:rPr>
                  <a:t>Flaticon</a:t>
                </a:r>
                <a:endParaRPr lang="en-US" sz="500" dirty="0"/>
              </a:p>
            </p:txBody>
          </p:sp>
        </p:grpSp>
        <p:pic>
          <p:nvPicPr>
            <p:cNvPr id="1026" name="Picture 2" descr="Altium Designer - YouTube">
              <a:extLst>
                <a:ext uri="{FF2B5EF4-FFF2-40B4-BE49-F238E27FC236}">
                  <a16:creationId xmlns:a16="http://schemas.microsoft.com/office/drawing/2014/main" id="{5B22AFA4-97C2-37E2-4F3D-C5EF286D485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596" t="24069" r="6009" b="28485"/>
            <a:stretch/>
          </p:blipFill>
          <p:spPr bwMode="auto">
            <a:xfrm>
              <a:off x="1213502" y="1878646"/>
              <a:ext cx="1628339" cy="9154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D9599B47-7889-CB48-87AD-719EC54A2018}"/>
              </a:ext>
            </a:extLst>
          </p:cNvPr>
          <p:cNvGrpSpPr/>
          <p:nvPr/>
        </p:nvGrpSpPr>
        <p:grpSpPr>
          <a:xfrm>
            <a:off x="3797590" y="1736433"/>
            <a:ext cx="1600297" cy="1600297"/>
            <a:chOff x="5031523" y="1595290"/>
            <a:chExt cx="2000297" cy="2000297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34551CB6-C7D3-44FA-4915-AE41107C5039}"/>
                </a:ext>
              </a:extLst>
            </p:cNvPr>
            <p:cNvGrpSpPr/>
            <p:nvPr/>
          </p:nvGrpSpPr>
          <p:grpSpPr>
            <a:xfrm>
              <a:off x="5031523" y="1595290"/>
              <a:ext cx="2000297" cy="2000297"/>
              <a:chOff x="4726960" y="1729067"/>
              <a:chExt cx="2000297" cy="2000297"/>
            </a:xfrm>
          </p:grpSpPr>
          <p:pic>
            <p:nvPicPr>
              <p:cNvPr id="18" name="Picture 17">
                <a:extLst>
                  <a:ext uri="{FF2B5EF4-FFF2-40B4-BE49-F238E27FC236}">
                    <a16:creationId xmlns:a16="http://schemas.microsoft.com/office/drawing/2014/main" id="{78627E23-5465-14B0-D5F2-DCBE2308BF7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4726960" y="1729067"/>
                <a:ext cx="2000297" cy="2000297"/>
              </a:xfrm>
              <a:prstGeom prst="rect">
                <a:avLst/>
              </a:prstGeom>
            </p:spPr>
          </p:pic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6A653D37-CA19-581F-B101-D31BA08CB0B3}"/>
                  </a:ext>
                </a:extLst>
              </p:cNvPr>
              <p:cNvSpPr txBox="1"/>
              <p:nvPr/>
            </p:nvSpPr>
            <p:spPr>
              <a:xfrm>
                <a:off x="5248896" y="2961736"/>
                <a:ext cx="817853" cy="1692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500" dirty="0" err="1">
                    <a:hlinkClick r:id="rId3"/>
                  </a:rPr>
                  <a:t>Payungkead</a:t>
                </a:r>
                <a:r>
                  <a:rPr lang="en-US" sz="500" dirty="0">
                    <a:hlinkClick r:id="rId3"/>
                  </a:rPr>
                  <a:t> - </a:t>
                </a:r>
                <a:r>
                  <a:rPr lang="en-US" sz="500" dirty="0" err="1">
                    <a:hlinkClick r:id="rId3"/>
                  </a:rPr>
                  <a:t>Flaticon</a:t>
                </a:r>
                <a:endParaRPr lang="en-US" sz="500" dirty="0"/>
              </a:p>
            </p:txBody>
          </p:sp>
        </p:grpSp>
        <p:pic>
          <p:nvPicPr>
            <p:cNvPr id="1028" name="Picture 4" descr="GitLab Logos and Brand Assets | GitLab">
              <a:extLst>
                <a:ext uri="{FF2B5EF4-FFF2-40B4-BE49-F238E27FC236}">
                  <a16:creationId xmlns:a16="http://schemas.microsoft.com/office/drawing/2014/main" id="{1C3E35C2-E17E-56F8-D1C6-25F16E7D85D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74787" y="1997160"/>
              <a:ext cx="758476" cy="6968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F1984454-9AAB-B9FB-26B9-72A0B96DE0B3}"/>
              </a:ext>
            </a:extLst>
          </p:cNvPr>
          <p:cNvGrpSpPr/>
          <p:nvPr/>
        </p:nvGrpSpPr>
        <p:grpSpPr>
          <a:xfrm>
            <a:off x="1160146" y="4352814"/>
            <a:ext cx="1261201" cy="1261201"/>
            <a:chOff x="1213502" y="4286978"/>
            <a:chExt cx="1554136" cy="1554136"/>
          </a:xfrm>
        </p:grpSpPr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176A310B-F619-313D-4005-37C11E8557E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1213502" y="4286978"/>
              <a:ext cx="1554136" cy="1554136"/>
            </a:xfrm>
            <a:prstGeom prst="rect">
              <a:avLst/>
            </a:prstGeom>
          </p:spPr>
        </p:pic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402C325C-E8AA-CA01-5C0B-A72F12E07B21}"/>
                </a:ext>
              </a:extLst>
            </p:cNvPr>
            <p:cNvSpPr txBox="1"/>
            <p:nvPr/>
          </p:nvSpPr>
          <p:spPr>
            <a:xfrm>
              <a:off x="1652977" y="4415774"/>
              <a:ext cx="675185" cy="1692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500" dirty="0" err="1">
                  <a:hlinkClick r:id="rId9"/>
                </a:rPr>
                <a:t>Freepik</a:t>
              </a:r>
              <a:r>
                <a:rPr lang="en-US" sz="500" dirty="0">
                  <a:hlinkClick r:id="rId9"/>
                </a:rPr>
                <a:t> - </a:t>
              </a:r>
              <a:r>
                <a:rPr lang="en-US" sz="500" dirty="0" err="1">
                  <a:hlinkClick r:id="rId9"/>
                </a:rPr>
                <a:t>Flaticon</a:t>
              </a:r>
              <a:endParaRPr lang="en-US" sz="500" dirty="0"/>
            </a:p>
          </p:txBody>
        </p:sp>
      </p:grpSp>
      <p:sp>
        <p:nvSpPr>
          <p:cNvPr id="37" name="Arrow: Down 36">
            <a:extLst>
              <a:ext uri="{FF2B5EF4-FFF2-40B4-BE49-F238E27FC236}">
                <a16:creationId xmlns:a16="http://schemas.microsoft.com/office/drawing/2014/main" id="{5926E1C4-803F-9D98-6738-1ED01FBE64D1}"/>
              </a:ext>
            </a:extLst>
          </p:cNvPr>
          <p:cNvSpPr/>
          <p:nvPr/>
        </p:nvSpPr>
        <p:spPr>
          <a:xfrm rot="10800000">
            <a:off x="1477926" y="3468479"/>
            <a:ext cx="625642" cy="702645"/>
          </a:xfrm>
          <a:prstGeom prst="down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dirty="0"/>
              <a:t>1</a:t>
            </a:r>
          </a:p>
        </p:txBody>
      </p:sp>
      <p:sp>
        <p:nvSpPr>
          <p:cNvPr id="38" name="Arrow: Down 37">
            <a:extLst>
              <a:ext uri="{FF2B5EF4-FFF2-40B4-BE49-F238E27FC236}">
                <a16:creationId xmlns:a16="http://schemas.microsoft.com/office/drawing/2014/main" id="{CADC94E5-D127-B4EC-390C-1C855E529588}"/>
              </a:ext>
            </a:extLst>
          </p:cNvPr>
          <p:cNvSpPr/>
          <p:nvPr/>
        </p:nvSpPr>
        <p:spPr>
          <a:xfrm rot="16200000">
            <a:off x="2947831" y="2058461"/>
            <a:ext cx="625642" cy="702645"/>
          </a:xfrm>
          <a:prstGeom prst="down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en-US" dirty="0"/>
              <a:t>2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80C6A6FD-9B6F-D163-8C49-4E319E55701F}"/>
              </a:ext>
            </a:extLst>
          </p:cNvPr>
          <p:cNvSpPr txBox="1"/>
          <p:nvPr/>
        </p:nvSpPr>
        <p:spPr>
          <a:xfrm>
            <a:off x="570352" y="5714708"/>
            <a:ext cx="249414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tx2"/>
                </a:solidFill>
              </a:rPr>
              <a:t>Four-eye reviewed Altium libraries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72B59789-6BD5-98C9-D5B1-F8A9F2C171D5}"/>
              </a:ext>
            </a:extLst>
          </p:cNvPr>
          <p:cNvSpPr txBox="1"/>
          <p:nvPr/>
        </p:nvSpPr>
        <p:spPr>
          <a:xfrm>
            <a:off x="1160146" y="1451422"/>
            <a:ext cx="136768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tx2"/>
                </a:solidFill>
              </a:rPr>
              <a:t>Hardware Design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0813A918-35DD-8277-01D3-EFDD9BF0658A}"/>
              </a:ext>
            </a:extLst>
          </p:cNvPr>
          <p:cNvSpPr txBox="1"/>
          <p:nvPr/>
        </p:nvSpPr>
        <p:spPr>
          <a:xfrm>
            <a:off x="3772589" y="1440445"/>
            <a:ext cx="161935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tx2"/>
                </a:solidFill>
              </a:rPr>
              <a:t>On-site Gitlab Server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4BE7ECCE-FB0C-11F8-DF5A-67D5BBF3781E}"/>
              </a:ext>
            </a:extLst>
          </p:cNvPr>
          <p:cNvSpPr txBox="1"/>
          <p:nvPr/>
        </p:nvSpPr>
        <p:spPr>
          <a:xfrm>
            <a:off x="7005361" y="1440444"/>
            <a:ext cx="10198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tx2"/>
                </a:solidFill>
              </a:rPr>
              <a:t>Build Server</a:t>
            </a:r>
          </a:p>
        </p:txBody>
      </p:sp>
      <p:pic>
        <p:nvPicPr>
          <p:cNvPr id="1030" name="Picture 6" descr="Altium designer logo png - ratesvse">
            <a:extLst>
              <a:ext uri="{FF2B5EF4-FFF2-40B4-BE49-F238E27FC236}">
                <a16:creationId xmlns:a16="http://schemas.microsoft.com/office/drawing/2014/main" id="{F34DAF30-328C-F309-38EB-83791DCEFF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1191" y="1993792"/>
            <a:ext cx="648020" cy="6480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17FD01AC-6DDE-93A7-9FEE-8504023BFB8F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864981" y="4117026"/>
            <a:ext cx="4456904" cy="1367459"/>
          </a:xfrm>
          <a:prstGeom prst="rect">
            <a:avLst/>
          </a:prstGeom>
        </p:spPr>
      </p:pic>
      <p:sp>
        <p:nvSpPr>
          <p:cNvPr id="50" name="TextBox 49">
            <a:extLst>
              <a:ext uri="{FF2B5EF4-FFF2-40B4-BE49-F238E27FC236}">
                <a16:creationId xmlns:a16="http://schemas.microsoft.com/office/drawing/2014/main" id="{2697F575-EBE7-5C77-6755-3A9A7B084039}"/>
              </a:ext>
            </a:extLst>
          </p:cNvPr>
          <p:cNvSpPr txBox="1"/>
          <p:nvPr/>
        </p:nvSpPr>
        <p:spPr>
          <a:xfrm>
            <a:off x="5775191" y="3768748"/>
            <a:ext cx="386310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tx2"/>
                </a:solidFill>
              </a:rPr>
              <a:t>Build Artifacts and GIT Snapshot to Document Archive</a:t>
            </a:r>
          </a:p>
        </p:txBody>
      </p:sp>
      <p:sp>
        <p:nvSpPr>
          <p:cNvPr id="51" name="Arrow: Left-Right 50">
            <a:extLst>
              <a:ext uri="{FF2B5EF4-FFF2-40B4-BE49-F238E27FC236}">
                <a16:creationId xmlns:a16="http://schemas.microsoft.com/office/drawing/2014/main" id="{282AAC3A-48DA-8D87-36CA-C1253D687759}"/>
              </a:ext>
            </a:extLst>
          </p:cNvPr>
          <p:cNvSpPr/>
          <p:nvPr/>
        </p:nvSpPr>
        <p:spPr>
          <a:xfrm>
            <a:off x="5575471" y="2074165"/>
            <a:ext cx="962075" cy="597907"/>
          </a:xfrm>
          <a:prstGeom prst="leftRight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</a:t>
            </a:r>
          </a:p>
        </p:txBody>
      </p:sp>
      <p:sp>
        <p:nvSpPr>
          <p:cNvPr id="52" name="Arrow: Bent-Up 51">
            <a:extLst>
              <a:ext uri="{FF2B5EF4-FFF2-40B4-BE49-F238E27FC236}">
                <a16:creationId xmlns:a16="http://schemas.microsoft.com/office/drawing/2014/main" id="{EF525C65-F6EF-D80A-0218-3514AC1683F4}"/>
              </a:ext>
            </a:extLst>
          </p:cNvPr>
          <p:cNvSpPr/>
          <p:nvPr/>
        </p:nvSpPr>
        <p:spPr>
          <a:xfrm rot="5400000">
            <a:off x="4361000" y="3593720"/>
            <a:ext cx="1406093" cy="1261200"/>
          </a:xfrm>
          <a:prstGeom prst="bentUp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dirty="0"/>
              <a:t>4</a:t>
            </a:r>
          </a:p>
        </p:txBody>
      </p:sp>
      <p:sp>
        <p:nvSpPr>
          <p:cNvPr id="54" name="Text Placeholder 7">
            <a:extLst>
              <a:ext uri="{FF2B5EF4-FFF2-40B4-BE49-F238E27FC236}">
                <a16:creationId xmlns:a16="http://schemas.microsoft.com/office/drawing/2014/main" id="{9E5878D1-68DC-5559-55A0-743DFA59F33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545721" y="1707921"/>
            <a:ext cx="3209999" cy="2517107"/>
          </a:xfrm>
        </p:spPr>
        <p:txBody>
          <a:bodyPr/>
          <a:lstStyle/>
          <a:p>
            <a:pPr marL="274320" lvl="1" indent="-182880">
              <a:buSzPct val="100000"/>
            </a:pPr>
            <a:r>
              <a:rPr lang="en-US" sz="1200" dirty="0"/>
              <a:t>Creates Gerbers, PDFs, BOMs</a:t>
            </a:r>
          </a:p>
          <a:p>
            <a:pPr marL="274320" lvl="1" indent="-182880">
              <a:spcBef>
                <a:spcPts val="600"/>
              </a:spcBef>
              <a:buSzPct val="100000"/>
            </a:pPr>
            <a:r>
              <a:rPr lang="en-US" sz="1200" dirty="0"/>
              <a:t>Performs independent DRC+ERC check</a:t>
            </a:r>
          </a:p>
          <a:p>
            <a:pPr marL="274320" lvl="1" indent="-182880">
              <a:spcBef>
                <a:spcPts val="600"/>
              </a:spcBef>
              <a:buSzPct val="100000"/>
            </a:pPr>
            <a:r>
              <a:rPr lang="en-US" sz="1200" dirty="0"/>
              <a:t>Performs BOM sanity check</a:t>
            </a:r>
          </a:p>
          <a:p>
            <a:pPr marL="274320" lvl="1" indent="-182880">
              <a:spcBef>
                <a:spcPts val="600"/>
              </a:spcBef>
              <a:buSzPct val="100000"/>
            </a:pPr>
            <a:r>
              <a:rPr lang="en-US" sz="1200" dirty="0"/>
              <a:t>Validates data sources</a:t>
            </a:r>
          </a:p>
          <a:p>
            <a:pPr marL="274320" lvl="1" indent="-182880">
              <a:spcBef>
                <a:spcPts val="600"/>
              </a:spcBef>
              <a:buSzPct val="100000"/>
            </a:pPr>
            <a:r>
              <a:rPr lang="en-US" sz="1200" dirty="0"/>
              <a:t>Calculates estimate for MTBF according to modified MIL-HDBK-217F</a:t>
            </a:r>
          </a:p>
          <a:p>
            <a:pPr marL="274320" lvl="1" indent="-182880">
              <a:spcBef>
                <a:spcPts val="600"/>
              </a:spcBef>
              <a:buSzPct val="100000"/>
            </a:pPr>
            <a:endParaRPr lang="en-US" sz="1200" dirty="0"/>
          </a:p>
          <a:p>
            <a:pPr marL="274320" lvl="1" indent="-91440">
              <a:buSzPct val="100000"/>
            </a:pPr>
            <a:endParaRPr lang="en-US" sz="1200" dirty="0"/>
          </a:p>
          <a:p>
            <a:pPr marL="515700" lvl="1" indent="-342900">
              <a:buSzPct val="100000"/>
            </a:pP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04827482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4159FCD-162A-14F4-2206-6FA37010D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Firmware </a:t>
            </a:r>
            <a:r>
              <a:rPr lang="en-GB"/>
              <a:t>and Software</a:t>
            </a:r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2192BD0-5241-2075-560C-695034247A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3th MicroTCA Workshop for Industry and Research</a:t>
            </a:r>
            <a:endParaRPr lang="de-CH" i="1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66463F8D-BD74-F879-888A-1C977688672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dirty="0"/>
              <a:t>Data Classification: PUBLIC, ESO-605100_1</a:t>
            </a:r>
            <a:endParaRPr lang="en-GB" dirty="0"/>
          </a:p>
        </p:txBody>
      </p:sp>
      <p:sp>
        <p:nvSpPr>
          <p:cNvPr id="23" name="Arrow: Down 22">
            <a:extLst>
              <a:ext uri="{FF2B5EF4-FFF2-40B4-BE49-F238E27FC236}">
                <a16:creationId xmlns:a16="http://schemas.microsoft.com/office/drawing/2014/main" id="{CE18C3AE-3346-DB5A-AD58-54D84D38D70A}"/>
              </a:ext>
            </a:extLst>
          </p:cNvPr>
          <p:cNvSpPr/>
          <p:nvPr/>
        </p:nvSpPr>
        <p:spPr>
          <a:xfrm rot="10800000">
            <a:off x="5940523" y="4672664"/>
            <a:ext cx="490888" cy="763708"/>
          </a:xfrm>
          <a:prstGeom prst="down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Arrow: Down 23">
            <a:extLst>
              <a:ext uri="{FF2B5EF4-FFF2-40B4-BE49-F238E27FC236}">
                <a16:creationId xmlns:a16="http://schemas.microsoft.com/office/drawing/2014/main" id="{3F5D5765-AEC7-581C-3535-60EF979ABDAA}"/>
              </a:ext>
            </a:extLst>
          </p:cNvPr>
          <p:cNvSpPr/>
          <p:nvPr/>
        </p:nvSpPr>
        <p:spPr>
          <a:xfrm rot="10800000">
            <a:off x="3660940" y="4672664"/>
            <a:ext cx="490888" cy="763708"/>
          </a:xfrm>
          <a:prstGeom prst="down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Arrow: Down 24">
            <a:extLst>
              <a:ext uri="{FF2B5EF4-FFF2-40B4-BE49-F238E27FC236}">
                <a16:creationId xmlns:a16="http://schemas.microsoft.com/office/drawing/2014/main" id="{6CA798F5-5374-25F8-61BA-7D14B29563ED}"/>
              </a:ext>
            </a:extLst>
          </p:cNvPr>
          <p:cNvSpPr/>
          <p:nvPr/>
        </p:nvSpPr>
        <p:spPr>
          <a:xfrm rot="10800000">
            <a:off x="1381356" y="4681089"/>
            <a:ext cx="490888" cy="763708"/>
          </a:xfrm>
          <a:prstGeom prst="down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EBE1D12B-9B48-C3DB-0D3F-C69058CE87C4}"/>
              </a:ext>
            </a:extLst>
          </p:cNvPr>
          <p:cNvCxnSpPr>
            <a:cxnSpLocks/>
          </p:cNvCxnSpPr>
          <p:nvPr/>
        </p:nvCxnSpPr>
        <p:spPr>
          <a:xfrm>
            <a:off x="2344737" y="2344643"/>
            <a:ext cx="0" cy="1309451"/>
          </a:xfrm>
          <a:prstGeom prst="line">
            <a:avLst/>
          </a:prstGeom>
          <a:ln w="1270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07A25EF7-4F6F-7248-2E11-F1C914166FB7}"/>
              </a:ext>
            </a:extLst>
          </p:cNvPr>
          <p:cNvCxnSpPr>
            <a:cxnSpLocks/>
          </p:cNvCxnSpPr>
          <p:nvPr/>
        </p:nvCxnSpPr>
        <p:spPr>
          <a:xfrm>
            <a:off x="4653597" y="2344643"/>
            <a:ext cx="0" cy="1309451"/>
          </a:xfrm>
          <a:prstGeom prst="line">
            <a:avLst/>
          </a:prstGeom>
          <a:ln w="1270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198B6EE1-9CE3-2E2F-ABF9-EA4BCA61DEA1}"/>
              </a:ext>
            </a:extLst>
          </p:cNvPr>
          <p:cNvCxnSpPr>
            <a:cxnSpLocks/>
          </p:cNvCxnSpPr>
          <p:nvPr/>
        </p:nvCxnSpPr>
        <p:spPr>
          <a:xfrm>
            <a:off x="6985317" y="2344643"/>
            <a:ext cx="0" cy="1309451"/>
          </a:xfrm>
          <a:prstGeom prst="line">
            <a:avLst/>
          </a:prstGeom>
          <a:ln w="1270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8EA69882-4779-9E5C-FB5D-3A2C06C3530A}"/>
              </a:ext>
            </a:extLst>
          </p:cNvPr>
          <p:cNvCxnSpPr>
            <a:cxnSpLocks/>
          </p:cNvCxnSpPr>
          <p:nvPr/>
        </p:nvCxnSpPr>
        <p:spPr>
          <a:xfrm>
            <a:off x="9233217" y="2344643"/>
            <a:ext cx="0" cy="1309451"/>
          </a:xfrm>
          <a:prstGeom prst="line">
            <a:avLst/>
          </a:prstGeom>
          <a:ln w="1270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B6A0530A-22BF-A9FB-275A-FCAEE401A3D7}"/>
              </a:ext>
            </a:extLst>
          </p:cNvPr>
          <p:cNvCxnSpPr>
            <a:cxnSpLocks/>
          </p:cNvCxnSpPr>
          <p:nvPr/>
        </p:nvCxnSpPr>
        <p:spPr>
          <a:xfrm>
            <a:off x="1028931" y="2344643"/>
            <a:ext cx="0" cy="1113009"/>
          </a:xfrm>
          <a:prstGeom prst="line">
            <a:avLst/>
          </a:prstGeom>
          <a:ln w="1270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31195FF7-7C19-3020-D73B-0D675911AFAD}"/>
              </a:ext>
            </a:extLst>
          </p:cNvPr>
          <p:cNvCxnSpPr>
            <a:cxnSpLocks/>
          </p:cNvCxnSpPr>
          <p:nvPr/>
        </p:nvCxnSpPr>
        <p:spPr>
          <a:xfrm>
            <a:off x="1028931" y="3457652"/>
            <a:ext cx="8614643" cy="5865"/>
          </a:xfrm>
          <a:prstGeom prst="line">
            <a:avLst/>
          </a:prstGeom>
          <a:ln w="127000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743A438-47FB-318F-1F71-1EF5C174389C}"/>
              </a:ext>
            </a:extLst>
          </p:cNvPr>
          <p:cNvCxnSpPr>
            <a:cxnSpLocks/>
          </p:cNvCxnSpPr>
          <p:nvPr/>
        </p:nvCxnSpPr>
        <p:spPr>
          <a:xfrm>
            <a:off x="3171826" y="2344643"/>
            <a:ext cx="0" cy="887507"/>
          </a:xfrm>
          <a:prstGeom prst="line">
            <a:avLst/>
          </a:prstGeom>
          <a:ln w="1270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B7CC4E70-24A5-6CCF-CE58-E2F2713F524C}"/>
              </a:ext>
            </a:extLst>
          </p:cNvPr>
          <p:cNvCxnSpPr>
            <a:cxnSpLocks/>
          </p:cNvCxnSpPr>
          <p:nvPr/>
        </p:nvCxnSpPr>
        <p:spPr>
          <a:xfrm>
            <a:off x="3175001" y="3219773"/>
            <a:ext cx="6428132" cy="0"/>
          </a:xfrm>
          <a:prstGeom prst="line">
            <a:avLst/>
          </a:prstGeom>
          <a:ln w="127000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E28A211E-9211-173A-1730-C67A0D44930C}"/>
              </a:ext>
            </a:extLst>
          </p:cNvPr>
          <p:cNvCxnSpPr>
            <a:cxnSpLocks/>
          </p:cNvCxnSpPr>
          <p:nvPr/>
        </p:nvCxnSpPr>
        <p:spPr>
          <a:xfrm>
            <a:off x="5451278" y="2344643"/>
            <a:ext cx="0" cy="665257"/>
          </a:xfrm>
          <a:prstGeom prst="line">
            <a:avLst/>
          </a:prstGeom>
          <a:ln w="1270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271E7680-6575-ECE5-D881-6BBAC79F9CB2}"/>
              </a:ext>
            </a:extLst>
          </p:cNvPr>
          <p:cNvCxnSpPr>
            <a:cxnSpLocks/>
          </p:cNvCxnSpPr>
          <p:nvPr/>
        </p:nvCxnSpPr>
        <p:spPr>
          <a:xfrm>
            <a:off x="5451278" y="2991173"/>
            <a:ext cx="4151855" cy="0"/>
          </a:xfrm>
          <a:prstGeom prst="line">
            <a:avLst/>
          </a:prstGeom>
          <a:ln w="127000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40511B96-DA18-EFD2-918B-59F674DCC0A5}"/>
              </a:ext>
            </a:extLst>
          </p:cNvPr>
          <p:cNvCxnSpPr>
            <a:cxnSpLocks/>
          </p:cNvCxnSpPr>
          <p:nvPr/>
        </p:nvCxnSpPr>
        <p:spPr>
          <a:xfrm>
            <a:off x="7802088" y="2585432"/>
            <a:ext cx="1801045" cy="0"/>
          </a:xfrm>
          <a:prstGeom prst="line">
            <a:avLst/>
          </a:prstGeom>
          <a:ln w="127000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B41F3F95-266B-4B58-3B20-91D2DDC861AD}"/>
              </a:ext>
            </a:extLst>
          </p:cNvPr>
          <p:cNvCxnSpPr>
            <a:cxnSpLocks/>
          </p:cNvCxnSpPr>
          <p:nvPr/>
        </p:nvCxnSpPr>
        <p:spPr>
          <a:xfrm>
            <a:off x="7802088" y="2344643"/>
            <a:ext cx="0" cy="277113"/>
          </a:xfrm>
          <a:prstGeom prst="line">
            <a:avLst/>
          </a:prstGeom>
          <a:ln w="1270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Arrow: Down 72">
            <a:extLst>
              <a:ext uri="{FF2B5EF4-FFF2-40B4-BE49-F238E27FC236}">
                <a16:creationId xmlns:a16="http://schemas.microsoft.com/office/drawing/2014/main" id="{C4A4DA1A-4EF1-4DEA-F486-E50BD0B347EF}"/>
              </a:ext>
            </a:extLst>
          </p:cNvPr>
          <p:cNvSpPr/>
          <p:nvPr/>
        </p:nvSpPr>
        <p:spPr>
          <a:xfrm rot="10800000">
            <a:off x="8211722" y="562365"/>
            <a:ext cx="490888" cy="763708"/>
          </a:xfrm>
          <a:prstGeom prst="down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Arrow: Down 73">
            <a:extLst>
              <a:ext uri="{FF2B5EF4-FFF2-40B4-BE49-F238E27FC236}">
                <a16:creationId xmlns:a16="http://schemas.microsoft.com/office/drawing/2014/main" id="{27365E2F-FB7C-1190-5863-BA0E764D0390}"/>
              </a:ext>
            </a:extLst>
          </p:cNvPr>
          <p:cNvSpPr/>
          <p:nvPr/>
        </p:nvSpPr>
        <p:spPr>
          <a:xfrm>
            <a:off x="967971" y="2436542"/>
            <a:ext cx="121920" cy="158761"/>
          </a:xfrm>
          <a:prstGeom prst="down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5" name="Arrow: Down 74">
            <a:extLst>
              <a:ext uri="{FF2B5EF4-FFF2-40B4-BE49-F238E27FC236}">
                <a16:creationId xmlns:a16="http://schemas.microsoft.com/office/drawing/2014/main" id="{32F8550C-EEA9-D65D-A648-8208745A2226}"/>
              </a:ext>
            </a:extLst>
          </p:cNvPr>
          <p:cNvSpPr/>
          <p:nvPr/>
        </p:nvSpPr>
        <p:spPr>
          <a:xfrm>
            <a:off x="967971" y="2987156"/>
            <a:ext cx="121920" cy="158761"/>
          </a:xfrm>
          <a:prstGeom prst="down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6" name="Arrow: Down 75">
            <a:extLst>
              <a:ext uri="{FF2B5EF4-FFF2-40B4-BE49-F238E27FC236}">
                <a16:creationId xmlns:a16="http://schemas.microsoft.com/office/drawing/2014/main" id="{7CAB6F9C-AB0A-6717-8984-C73EE79D6255}"/>
              </a:ext>
            </a:extLst>
          </p:cNvPr>
          <p:cNvSpPr/>
          <p:nvPr/>
        </p:nvSpPr>
        <p:spPr>
          <a:xfrm rot="16200000">
            <a:off x="1337599" y="3380251"/>
            <a:ext cx="121920" cy="158761"/>
          </a:xfrm>
          <a:prstGeom prst="down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8" name="Arrow: Down 87">
            <a:extLst>
              <a:ext uri="{FF2B5EF4-FFF2-40B4-BE49-F238E27FC236}">
                <a16:creationId xmlns:a16="http://schemas.microsoft.com/office/drawing/2014/main" id="{81DBC42E-C8FF-C185-B7F7-A7963E4F9977}"/>
              </a:ext>
            </a:extLst>
          </p:cNvPr>
          <p:cNvSpPr/>
          <p:nvPr/>
        </p:nvSpPr>
        <p:spPr>
          <a:xfrm rot="16200000">
            <a:off x="2064428" y="3380251"/>
            <a:ext cx="121920" cy="158761"/>
          </a:xfrm>
          <a:prstGeom prst="down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9" name="Arrow: Down 88">
            <a:extLst>
              <a:ext uri="{FF2B5EF4-FFF2-40B4-BE49-F238E27FC236}">
                <a16:creationId xmlns:a16="http://schemas.microsoft.com/office/drawing/2014/main" id="{BA030162-04D3-CCB8-EDA9-EB4CC646BAB8}"/>
              </a:ext>
            </a:extLst>
          </p:cNvPr>
          <p:cNvSpPr/>
          <p:nvPr/>
        </p:nvSpPr>
        <p:spPr>
          <a:xfrm rot="16200000">
            <a:off x="2761509" y="3380251"/>
            <a:ext cx="121920" cy="158761"/>
          </a:xfrm>
          <a:prstGeom prst="down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0" name="Arrow: Down 89">
            <a:extLst>
              <a:ext uri="{FF2B5EF4-FFF2-40B4-BE49-F238E27FC236}">
                <a16:creationId xmlns:a16="http://schemas.microsoft.com/office/drawing/2014/main" id="{3A1D2645-C95A-C350-ED12-DD48E494F0F0}"/>
              </a:ext>
            </a:extLst>
          </p:cNvPr>
          <p:cNvSpPr/>
          <p:nvPr/>
        </p:nvSpPr>
        <p:spPr>
          <a:xfrm rot="16200000">
            <a:off x="3488338" y="3382632"/>
            <a:ext cx="121920" cy="158761"/>
          </a:xfrm>
          <a:prstGeom prst="down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1" name="Arrow: Down 90">
            <a:extLst>
              <a:ext uri="{FF2B5EF4-FFF2-40B4-BE49-F238E27FC236}">
                <a16:creationId xmlns:a16="http://schemas.microsoft.com/office/drawing/2014/main" id="{44B468AF-B7BF-81F0-725F-86175FA0F676}"/>
              </a:ext>
            </a:extLst>
          </p:cNvPr>
          <p:cNvSpPr/>
          <p:nvPr/>
        </p:nvSpPr>
        <p:spPr>
          <a:xfrm rot="16200000">
            <a:off x="4090868" y="3380252"/>
            <a:ext cx="121920" cy="158761"/>
          </a:xfrm>
          <a:prstGeom prst="down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2" name="Arrow: Down 91">
            <a:extLst>
              <a:ext uri="{FF2B5EF4-FFF2-40B4-BE49-F238E27FC236}">
                <a16:creationId xmlns:a16="http://schemas.microsoft.com/office/drawing/2014/main" id="{8607D8DB-8547-819E-A955-70E169B9A420}"/>
              </a:ext>
            </a:extLst>
          </p:cNvPr>
          <p:cNvSpPr/>
          <p:nvPr/>
        </p:nvSpPr>
        <p:spPr>
          <a:xfrm rot="16200000">
            <a:off x="4817697" y="3382633"/>
            <a:ext cx="121920" cy="158761"/>
          </a:xfrm>
          <a:prstGeom prst="down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3" name="Arrow: Down 92">
            <a:extLst>
              <a:ext uri="{FF2B5EF4-FFF2-40B4-BE49-F238E27FC236}">
                <a16:creationId xmlns:a16="http://schemas.microsoft.com/office/drawing/2014/main" id="{0416C08F-2CB9-9D2B-809E-0BEA224134A6}"/>
              </a:ext>
            </a:extLst>
          </p:cNvPr>
          <p:cNvSpPr/>
          <p:nvPr/>
        </p:nvSpPr>
        <p:spPr>
          <a:xfrm rot="16200000">
            <a:off x="5514778" y="3382633"/>
            <a:ext cx="121920" cy="158761"/>
          </a:xfrm>
          <a:prstGeom prst="down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4" name="Arrow: Down 93">
            <a:extLst>
              <a:ext uri="{FF2B5EF4-FFF2-40B4-BE49-F238E27FC236}">
                <a16:creationId xmlns:a16="http://schemas.microsoft.com/office/drawing/2014/main" id="{FCC7F65C-6688-F2D4-87CF-A8A0F753F860}"/>
              </a:ext>
            </a:extLst>
          </p:cNvPr>
          <p:cNvSpPr/>
          <p:nvPr/>
        </p:nvSpPr>
        <p:spPr>
          <a:xfrm rot="16200000">
            <a:off x="6241607" y="3382633"/>
            <a:ext cx="121920" cy="158761"/>
          </a:xfrm>
          <a:prstGeom prst="down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5" name="Arrow: Down 94">
            <a:extLst>
              <a:ext uri="{FF2B5EF4-FFF2-40B4-BE49-F238E27FC236}">
                <a16:creationId xmlns:a16="http://schemas.microsoft.com/office/drawing/2014/main" id="{8D3508F9-DDD5-6F47-D719-AB7719EB136A}"/>
              </a:ext>
            </a:extLst>
          </p:cNvPr>
          <p:cNvSpPr/>
          <p:nvPr/>
        </p:nvSpPr>
        <p:spPr>
          <a:xfrm rot="16200000">
            <a:off x="6843251" y="3382633"/>
            <a:ext cx="121920" cy="158761"/>
          </a:xfrm>
          <a:prstGeom prst="down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6" name="Arrow: Down 95">
            <a:extLst>
              <a:ext uri="{FF2B5EF4-FFF2-40B4-BE49-F238E27FC236}">
                <a16:creationId xmlns:a16="http://schemas.microsoft.com/office/drawing/2014/main" id="{8EA68AAD-B805-C740-8A24-A384EA53B86F}"/>
              </a:ext>
            </a:extLst>
          </p:cNvPr>
          <p:cNvSpPr/>
          <p:nvPr/>
        </p:nvSpPr>
        <p:spPr>
          <a:xfrm rot="16200000">
            <a:off x="7570080" y="3382633"/>
            <a:ext cx="121920" cy="158761"/>
          </a:xfrm>
          <a:prstGeom prst="down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7" name="Arrow: Down 96">
            <a:extLst>
              <a:ext uri="{FF2B5EF4-FFF2-40B4-BE49-F238E27FC236}">
                <a16:creationId xmlns:a16="http://schemas.microsoft.com/office/drawing/2014/main" id="{6A4BD2AB-3D91-AE64-96AB-DBF7E37E5D22}"/>
              </a:ext>
            </a:extLst>
          </p:cNvPr>
          <p:cNvSpPr/>
          <p:nvPr/>
        </p:nvSpPr>
        <p:spPr>
          <a:xfrm rot="16200000">
            <a:off x="8267161" y="3383427"/>
            <a:ext cx="121920" cy="158761"/>
          </a:xfrm>
          <a:prstGeom prst="down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8" name="Arrow: Down 97">
            <a:extLst>
              <a:ext uri="{FF2B5EF4-FFF2-40B4-BE49-F238E27FC236}">
                <a16:creationId xmlns:a16="http://schemas.microsoft.com/office/drawing/2014/main" id="{C6BDA015-C2B0-CE6E-4247-BD4D3A4EF21B}"/>
              </a:ext>
            </a:extLst>
          </p:cNvPr>
          <p:cNvSpPr/>
          <p:nvPr/>
        </p:nvSpPr>
        <p:spPr>
          <a:xfrm rot="16200000">
            <a:off x="8993990" y="3383427"/>
            <a:ext cx="121920" cy="158761"/>
          </a:xfrm>
          <a:prstGeom prst="down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9" name="Arrow: Down 98">
            <a:extLst>
              <a:ext uri="{FF2B5EF4-FFF2-40B4-BE49-F238E27FC236}">
                <a16:creationId xmlns:a16="http://schemas.microsoft.com/office/drawing/2014/main" id="{389FFA52-252A-AB2D-665E-1CBFDEC64138}"/>
              </a:ext>
            </a:extLst>
          </p:cNvPr>
          <p:cNvSpPr/>
          <p:nvPr/>
        </p:nvSpPr>
        <p:spPr>
          <a:xfrm>
            <a:off x="3109493" y="2653335"/>
            <a:ext cx="121920" cy="158761"/>
          </a:xfrm>
          <a:prstGeom prst="down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8" name="Arrow: Down 107">
            <a:extLst>
              <a:ext uri="{FF2B5EF4-FFF2-40B4-BE49-F238E27FC236}">
                <a16:creationId xmlns:a16="http://schemas.microsoft.com/office/drawing/2014/main" id="{466636E9-A798-9B2A-06E7-E4BA0649F848}"/>
              </a:ext>
            </a:extLst>
          </p:cNvPr>
          <p:cNvSpPr/>
          <p:nvPr/>
        </p:nvSpPr>
        <p:spPr>
          <a:xfrm rot="16200000">
            <a:off x="3628301" y="3142595"/>
            <a:ext cx="121920" cy="158761"/>
          </a:xfrm>
          <a:prstGeom prst="down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9" name="Arrow: Down 108">
            <a:extLst>
              <a:ext uri="{FF2B5EF4-FFF2-40B4-BE49-F238E27FC236}">
                <a16:creationId xmlns:a16="http://schemas.microsoft.com/office/drawing/2014/main" id="{885675DB-AFC2-7701-9E8A-F24507453BE6}"/>
              </a:ext>
            </a:extLst>
          </p:cNvPr>
          <p:cNvSpPr/>
          <p:nvPr/>
        </p:nvSpPr>
        <p:spPr>
          <a:xfrm rot="16200000">
            <a:off x="4230831" y="3140215"/>
            <a:ext cx="121920" cy="158761"/>
          </a:xfrm>
          <a:prstGeom prst="down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0" name="Arrow: Down 109">
            <a:extLst>
              <a:ext uri="{FF2B5EF4-FFF2-40B4-BE49-F238E27FC236}">
                <a16:creationId xmlns:a16="http://schemas.microsoft.com/office/drawing/2014/main" id="{5E97EBBD-8532-9ECE-C9FF-2256CA00A976}"/>
              </a:ext>
            </a:extLst>
          </p:cNvPr>
          <p:cNvSpPr/>
          <p:nvPr/>
        </p:nvSpPr>
        <p:spPr>
          <a:xfrm rot="16200000">
            <a:off x="4957660" y="3142596"/>
            <a:ext cx="121920" cy="158761"/>
          </a:xfrm>
          <a:prstGeom prst="down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1" name="Arrow: Down 110">
            <a:extLst>
              <a:ext uri="{FF2B5EF4-FFF2-40B4-BE49-F238E27FC236}">
                <a16:creationId xmlns:a16="http://schemas.microsoft.com/office/drawing/2014/main" id="{D917CA25-BFAE-A229-64D7-B6CCC42D5F96}"/>
              </a:ext>
            </a:extLst>
          </p:cNvPr>
          <p:cNvSpPr/>
          <p:nvPr/>
        </p:nvSpPr>
        <p:spPr>
          <a:xfrm rot="16200000">
            <a:off x="5654741" y="3142596"/>
            <a:ext cx="121920" cy="158761"/>
          </a:xfrm>
          <a:prstGeom prst="down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2" name="Arrow: Down 111">
            <a:extLst>
              <a:ext uri="{FF2B5EF4-FFF2-40B4-BE49-F238E27FC236}">
                <a16:creationId xmlns:a16="http://schemas.microsoft.com/office/drawing/2014/main" id="{35A34073-930C-768B-4BEA-BF43ED6FD6A8}"/>
              </a:ext>
            </a:extLst>
          </p:cNvPr>
          <p:cNvSpPr/>
          <p:nvPr/>
        </p:nvSpPr>
        <p:spPr>
          <a:xfrm rot="16200000">
            <a:off x="6381570" y="3142596"/>
            <a:ext cx="121920" cy="158761"/>
          </a:xfrm>
          <a:prstGeom prst="down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3" name="Arrow: Down 112">
            <a:extLst>
              <a:ext uri="{FF2B5EF4-FFF2-40B4-BE49-F238E27FC236}">
                <a16:creationId xmlns:a16="http://schemas.microsoft.com/office/drawing/2014/main" id="{7E0B7CED-7434-D4FE-2732-20F779EF1C80}"/>
              </a:ext>
            </a:extLst>
          </p:cNvPr>
          <p:cNvSpPr/>
          <p:nvPr/>
        </p:nvSpPr>
        <p:spPr>
          <a:xfrm rot="16200000">
            <a:off x="6983214" y="3142596"/>
            <a:ext cx="121920" cy="158761"/>
          </a:xfrm>
          <a:prstGeom prst="down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4" name="Arrow: Down 113">
            <a:extLst>
              <a:ext uri="{FF2B5EF4-FFF2-40B4-BE49-F238E27FC236}">
                <a16:creationId xmlns:a16="http://schemas.microsoft.com/office/drawing/2014/main" id="{B0E2D4A9-91CC-D2B0-2ABE-8B4C6DBB25AA}"/>
              </a:ext>
            </a:extLst>
          </p:cNvPr>
          <p:cNvSpPr/>
          <p:nvPr/>
        </p:nvSpPr>
        <p:spPr>
          <a:xfrm rot="16200000">
            <a:off x="7710043" y="3142596"/>
            <a:ext cx="121920" cy="158761"/>
          </a:xfrm>
          <a:prstGeom prst="down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5" name="Arrow: Down 114">
            <a:extLst>
              <a:ext uri="{FF2B5EF4-FFF2-40B4-BE49-F238E27FC236}">
                <a16:creationId xmlns:a16="http://schemas.microsoft.com/office/drawing/2014/main" id="{E2B36C33-C291-774C-EB97-4751C3FEC141}"/>
              </a:ext>
            </a:extLst>
          </p:cNvPr>
          <p:cNvSpPr/>
          <p:nvPr/>
        </p:nvSpPr>
        <p:spPr>
          <a:xfrm rot="16200000">
            <a:off x="8320994" y="3142595"/>
            <a:ext cx="121920" cy="158761"/>
          </a:xfrm>
          <a:prstGeom prst="down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6" name="Arrow: Down 115">
            <a:extLst>
              <a:ext uri="{FF2B5EF4-FFF2-40B4-BE49-F238E27FC236}">
                <a16:creationId xmlns:a16="http://schemas.microsoft.com/office/drawing/2014/main" id="{694D6318-90D2-49E8-279F-D7BEE9F29E36}"/>
              </a:ext>
            </a:extLst>
          </p:cNvPr>
          <p:cNvSpPr/>
          <p:nvPr/>
        </p:nvSpPr>
        <p:spPr>
          <a:xfrm rot="16200000">
            <a:off x="8910558" y="3142595"/>
            <a:ext cx="121920" cy="158761"/>
          </a:xfrm>
          <a:prstGeom prst="down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7" name="Arrow: Down 116">
            <a:extLst>
              <a:ext uri="{FF2B5EF4-FFF2-40B4-BE49-F238E27FC236}">
                <a16:creationId xmlns:a16="http://schemas.microsoft.com/office/drawing/2014/main" id="{7F2E2B7D-2DE8-6BE5-E08E-070B4653C1FD}"/>
              </a:ext>
            </a:extLst>
          </p:cNvPr>
          <p:cNvSpPr/>
          <p:nvPr/>
        </p:nvSpPr>
        <p:spPr>
          <a:xfrm rot="16200000">
            <a:off x="5982333" y="2913730"/>
            <a:ext cx="121920" cy="158761"/>
          </a:xfrm>
          <a:prstGeom prst="down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8" name="Arrow: Down 117">
            <a:extLst>
              <a:ext uri="{FF2B5EF4-FFF2-40B4-BE49-F238E27FC236}">
                <a16:creationId xmlns:a16="http://schemas.microsoft.com/office/drawing/2014/main" id="{ADD13198-4A40-5837-7900-571C12438D9C}"/>
              </a:ext>
            </a:extLst>
          </p:cNvPr>
          <p:cNvSpPr/>
          <p:nvPr/>
        </p:nvSpPr>
        <p:spPr>
          <a:xfrm rot="16200000">
            <a:off x="6709162" y="2913730"/>
            <a:ext cx="121920" cy="158761"/>
          </a:xfrm>
          <a:prstGeom prst="down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9" name="Arrow: Down 118">
            <a:extLst>
              <a:ext uri="{FF2B5EF4-FFF2-40B4-BE49-F238E27FC236}">
                <a16:creationId xmlns:a16="http://schemas.microsoft.com/office/drawing/2014/main" id="{E9CADB9B-26A9-9C24-1057-9EF718C7270A}"/>
              </a:ext>
            </a:extLst>
          </p:cNvPr>
          <p:cNvSpPr/>
          <p:nvPr/>
        </p:nvSpPr>
        <p:spPr>
          <a:xfrm rot="16200000">
            <a:off x="7310806" y="2913730"/>
            <a:ext cx="121920" cy="158761"/>
          </a:xfrm>
          <a:prstGeom prst="down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0" name="Arrow: Down 119">
            <a:extLst>
              <a:ext uri="{FF2B5EF4-FFF2-40B4-BE49-F238E27FC236}">
                <a16:creationId xmlns:a16="http://schemas.microsoft.com/office/drawing/2014/main" id="{99A4E07D-43B9-12BD-D83D-EF4D377B3014}"/>
              </a:ext>
            </a:extLst>
          </p:cNvPr>
          <p:cNvSpPr/>
          <p:nvPr/>
        </p:nvSpPr>
        <p:spPr>
          <a:xfrm rot="16200000">
            <a:off x="8037635" y="2913730"/>
            <a:ext cx="121920" cy="158761"/>
          </a:xfrm>
          <a:prstGeom prst="down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1" name="Arrow: Down 120">
            <a:extLst>
              <a:ext uri="{FF2B5EF4-FFF2-40B4-BE49-F238E27FC236}">
                <a16:creationId xmlns:a16="http://schemas.microsoft.com/office/drawing/2014/main" id="{F0B610D9-6043-4615-237A-57C1401AAE50}"/>
              </a:ext>
            </a:extLst>
          </p:cNvPr>
          <p:cNvSpPr/>
          <p:nvPr/>
        </p:nvSpPr>
        <p:spPr>
          <a:xfrm rot="16200000">
            <a:off x="8648586" y="2913729"/>
            <a:ext cx="121920" cy="158761"/>
          </a:xfrm>
          <a:prstGeom prst="down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2" name="Arrow: Down 121">
            <a:extLst>
              <a:ext uri="{FF2B5EF4-FFF2-40B4-BE49-F238E27FC236}">
                <a16:creationId xmlns:a16="http://schemas.microsoft.com/office/drawing/2014/main" id="{8900CC52-716E-50A3-04AE-744B863D958B}"/>
              </a:ext>
            </a:extLst>
          </p:cNvPr>
          <p:cNvSpPr/>
          <p:nvPr/>
        </p:nvSpPr>
        <p:spPr>
          <a:xfrm rot="16200000">
            <a:off x="9238150" y="2913729"/>
            <a:ext cx="121920" cy="158761"/>
          </a:xfrm>
          <a:prstGeom prst="down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3" name="Arrow: Down 122">
            <a:extLst>
              <a:ext uri="{FF2B5EF4-FFF2-40B4-BE49-F238E27FC236}">
                <a16:creationId xmlns:a16="http://schemas.microsoft.com/office/drawing/2014/main" id="{0E4FC4C2-C180-A73F-DAAC-3B14B4987898}"/>
              </a:ext>
            </a:extLst>
          </p:cNvPr>
          <p:cNvSpPr/>
          <p:nvPr/>
        </p:nvSpPr>
        <p:spPr>
          <a:xfrm>
            <a:off x="5394321" y="2565824"/>
            <a:ext cx="121920" cy="158761"/>
          </a:xfrm>
          <a:prstGeom prst="down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4" name="Arrow: Down 123">
            <a:extLst>
              <a:ext uri="{FF2B5EF4-FFF2-40B4-BE49-F238E27FC236}">
                <a16:creationId xmlns:a16="http://schemas.microsoft.com/office/drawing/2014/main" id="{CD86AD64-94E1-5D23-60FE-BB7532ACE8AF}"/>
              </a:ext>
            </a:extLst>
          </p:cNvPr>
          <p:cNvSpPr/>
          <p:nvPr/>
        </p:nvSpPr>
        <p:spPr>
          <a:xfrm rot="5400000">
            <a:off x="9001717" y="2508626"/>
            <a:ext cx="121920" cy="158761"/>
          </a:xfrm>
          <a:prstGeom prst="down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5" name="Arrow: Down 124">
            <a:extLst>
              <a:ext uri="{FF2B5EF4-FFF2-40B4-BE49-F238E27FC236}">
                <a16:creationId xmlns:a16="http://schemas.microsoft.com/office/drawing/2014/main" id="{F07E0A58-A3C8-F6FE-085D-1B96C25A2BAC}"/>
              </a:ext>
            </a:extLst>
          </p:cNvPr>
          <p:cNvSpPr/>
          <p:nvPr/>
        </p:nvSpPr>
        <p:spPr>
          <a:xfrm rot="5400000">
            <a:off x="8346541" y="2508296"/>
            <a:ext cx="121920" cy="158761"/>
          </a:xfrm>
          <a:prstGeom prst="down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D357F05F-CB12-772F-F569-D39AD0A5C894}"/>
              </a:ext>
            </a:extLst>
          </p:cNvPr>
          <p:cNvSpPr/>
          <p:nvPr/>
        </p:nvSpPr>
        <p:spPr>
          <a:xfrm>
            <a:off x="7392332" y="4806063"/>
            <a:ext cx="3878851" cy="190175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300"/>
              </a:spcAft>
            </a:pPr>
            <a:r>
              <a:rPr lang="en-US" sz="1400" b="1" dirty="0">
                <a:solidFill>
                  <a:schemeClr val="tx1"/>
                </a:solidFill>
              </a:rPr>
              <a:t>Several identical AMC modules: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Position unknown 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Ideally access to GA through MMC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Standardize an MMC interface?</a:t>
            </a:r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GA</a:t>
            </a:r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RTM Enable</a:t>
            </a:r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Temperature Senso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4A5647E-77FC-2F25-BDD9-93FA320B2959}"/>
              </a:ext>
            </a:extLst>
          </p:cNvPr>
          <p:cNvSpPr/>
          <p:nvPr/>
        </p:nvSpPr>
        <p:spPr>
          <a:xfrm>
            <a:off x="553585" y="3654094"/>
            <a:ext cx="2146433" cy="908228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MOS AQ22 RTM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8757002-9EA3-6A2F-5210-70B635FBB94B}"/>
              </a:ext>
            </a:extLst>
          </p:cNvPr>
          <p:cNvSpPr/>
          <p:nvPr/>
        </p:nvSpPr>
        <p:spPr>
          <a:xfrm>
            <a:off x="2833168" y="3654094"/>
            <a:ext cx="2146433" cy="908228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MOS AQ22 RTM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1FC3D68-0086-463F-6127-0CBCA5D6A4F9}"/>
              </a:ext>
            </a:extLst>
          </p:cNvPr>
          <p:cNvSpPr/>
          <p:nvPr/>
        </p:nvSpPr>
        <p:spPr>
          <a:xfrm>
            <a:off x="5112751" y="3654094"/>
            <a:ext cx="2146433" cy="908228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MOS AQ22 RTM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9E2BFB7-6249-0D27-CF5B-264B978CCF1A}"/>
              </a:ext>
            </a:extLst>
          </p:cNvPr>
          <p:cNvSpPr/>
          <p:nvPr/>
        </p:nvSpPr>
        <p:spPr>
          <a:xfrm>
            <a:off x="553583" y="1436415"/>
            <a:ext cx="2146433" cy="908228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Q22 AMC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2F20BC7-388D-D468-1CD5-3CFFE9561A66}"/>
              </a:ext>
            </a:extLst>
          </p:cNvPr>
          <p:cNvSpPr/>
          <p:nvPr/>
        </p:nvSpPr>
        <p:spPr>
          <a:xfrm>
            <a:off x="2833167" y="1436415"/>
            <a:ext cx="2146433" cy="908228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Q22 AMC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F114AEC-789C-E901-B8D0-E6002856F5D6}"/>
              </a:ext>
            </a:extLst>
          </p:cNvPr>
          <p:cNvSpPr/>
          <p:nvPr/>
        </p:nvSpPr>
        <p:spPr>
          <a:xfrm>
            <a:off x="5112750" y="1436415"/>
            <a:ext cx="2146433" cy="908228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Q22 AMC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CAF17FA-1CAB-9634-6272-1396D5883EC4}"/>
              </a:ext>
            </a:extLst>
          </p:cNvPr>
          <p:cNvSpPr/>
          <p:nvPr/>
        </p:nvSpPr>
        <p:spPr>
          <a:xfrm>
            <a:off x="7392333" y="1436415"/>
            <a:ext cx="2146433" cy="908228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Host Controller</a:t>
            </a:r>
          </a:p>
          <a:p>
            <a:pPr algn="ctr"/>
            <a:r>
              <a:rPr lang="en-US" dirty="0"/>
              <a:t>IOxOS IFC1414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1384A9E-EE94-68D6-2461-2CC88DB8E3B4}"/>
              </a:ext>
            </a:extLst>
          </p:cNvPr>
          <p:cNvSpPr/>
          <p:nvPr/>
        </p:nvSpPr>
        <p:spPr>
          <a:xfrm>
            <a:off x="7392333" y="3654094"/>
            <a:ext cx="2146433" cy="908228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CMOS C20B20 RTM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F4939FE-D926-F111-DC2B-1C2932E0CD38}"/>
              </a:ext>
            </a:extLst>
          </p:cNvPr>
          <p:cNvSpPr/>
          <p:nvPr/>
        </p:nvSpPr>
        <p:spPr>
          <a:xfrm>
            <a:off x="9671918" y="1436415"/>
            <a:ext cx="1599266" cy="312590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MCH</a:t>
            </a:r>
          </a:p>
        </p:txBody>
      </p:sp>
    </p:spTree>
    <p:extLst>
      <p:ext uri="{BB962C8B-B14F-4D97-AF65-F5344CB8AC3E}">
        <p14:creationId xmlns:p14="http://schemas.microsoft.com/office/powerpoint/2010/main" val="86697419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Picture Placeholder 38" descr="A galaxy in space with stars&#10;&#10;Description automatically generated">
            <a:extLst>
              <a:ext uri="{FF2B5EF4-FFF2-40B4-BE49-F238E27FC236}">
                <a16:creationId xmlns:a16="http://schemas.microsoft.com/office/drawing/2014/main" id="{EEFEE4BC-356B-F6DF-9F61-A7718BEFC661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56" r="5556"/>
          <a:stretch>
            <a:fillRect/>
          </a:stretch>
        </p:blipFill>
        <p:spPr/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9FE81F53-BF98-411C-0960-A5908480486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00000" y="1576800"/>
            <a:ext cx="10317600" cy="2476470"/>
          </a:xfrm>
        </p:spPr>
        <p:txBody>
          <a:bodyPr/>
          <a:lstStyle/>
          <a:p>
            <a:r>
              <a:rPr lang="en-GB" dirty="0"/>
              <a:t>Questions and Answers</a:t>
            </a:r>
          </a:p>
        </p:txBody>
      </p:sp>
      <p:sp>
        <p:nvSpPr>
          <p:cNvPr id="17" name="SmartArt Placeholder 16">
            <a:extLst>
              <a:ext uri="{FF2B5EF4-FFF2-40B4-BE49-F238E27FC236}">
                <a16:creationId xmlns:a16="http://schemas.microsoft.com/office/drawing/2014/main" id="{C676CDE2-8511-DD7E-60BE-8A3ACF9CBC7D}"/>
              </a:ext>
            </a:extLst>
          </p:cNvPr>
          <p:cNvSpPr>
            <a:spLocks noGrp="1"/>
          </p:cNvSpPr>
          <p:nvPr>
            <p:ph type="dgm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0DFE4745-9222-4AE1-4472-56F13D2090B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CA8BEA20-CD76-B159-AB5C-E2089487D38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13585" y="3557170"/>
            <a:ext cx="5333530" cy="313953"/>
          </a:xfrm>
        </p:spPr>
        <p:txBody>
          <a:bodyPr/>
          <a:lstStyle/>
          <a:p>
            <a:r>
              <a:rPr lang="en-US" dirty="0"/>
              <a:t>Data Classification: PUBLIC, ESO-605100_1</a:t>
            </a:r>
            <a:endParaRPr lang="en-GB" dirty="0"/>
          </a:p>
        </p:txBody>
      </p:sp>
      <p:sp>
        <p:nvSpPr>
          <p:cNvPr id="27" name="Foliennummernplatzhalter 26">
            <a:extLst>
              <a:ext uri="{FF2B5EF4-FFF2-40B4-BE49-F238E27FC236}">
                <a16:creationId xmlns:a16="http://schemas.microsoft.com/office/drawing/2014/main" id="{6D31FE87-4742-0F6A-DA1E-2D202422D76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</p:spPr>
        <p:txBody>
          <a:bodyPr/>
          <a:lstStyle/>
          <a:p>
            <a:fld id="{766D6064-FB9F-4877-ADF1-97150FF2D969}" type="slidenum">
              <a:rPr lang="en-GB" smtClean="0"/>
              <a:pPr/>
              <a:t>15</a:t>
            </a:fld>
            <a:endParaRPr lang="en-GB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8D40CC97-92D2-BF0A-1157-E674C867BD61}"/>
              </a:ext>
            </a:extLst>
          </p:cNvPr>
          <p:cNvSpPr txBox="1"/>
          <p:nvPr/>
        </p:nvSpPr>
        <p:spPr>
          <a:xfrm>
            <a:off x="0" y="58758"/>
            <a:ext cx="231505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i="0" dirty="0">
                <a:solidFill>
                  <a:schemeClr val="bg1"/>
                </a:solidFill>
                <a:effectLst/>
                <a:latin typeface="Helvetica Neue LT ESO"/>
              </a:rPr>
              <a:t>Image Credit: ESO/S. </a:t>
            </a:r>
            <a:r>
              <a:rPr lang="en-US" sz="1200" b="1" i="0" dirty="0" err="1">
                <a:solidFill>
                  <a:schemeClr val="bg1"/>
                </a:solidFill>
                <a:effectLst/>
                <a:latin typeface="Helvetica Neue LT ESO"/>
              </a:rPr>
              <a:t>Brunier</a:t>
            </a:r>
            <a:endParaRPr lang="en-US" sz="1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055546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757F375-482C-9B68-1D5B-084D32A359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3th MicroTCA Workshop for Industry and Research</a:t>
            </a:r>
            <a:endParaRPr lang="de-CH" i="1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8C08F8F-24B3-3F97-FF53-B5221A2CE4D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dirty="0"/>
              <a:t>@ESOAstronomy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0BB075EF-3155-9A27-9313-5C5E1EF1E37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GB" dirty="0"/>
              <a:t>@esoastronomy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BE6DF5C-7A55-077D-803B-CD0C9ABF36D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GB" dirty="0"/>
              <a:t>@ESO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05E1ACA2-0F22-6DAB-2873-00EC8CF3CE0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GB" dirty="0" err="1"/>
              <a:t>european</a:t>
            </a:r>
            <a:r>
              <a:rPr lang="en-GB" dirty="0"/>
              <a:t>-southern-observatory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F50D11C-D35F-5B37-2F04-940968A890D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GB" dirty="0"/>
              <a:t>@ESOobservatory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37EA70F-5E7A-BC43-B7EC-85091096E66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Mathias Richerzhagen</a:t>
            </a:r>
          </a:p>
          <a:p>
            <a:r>
              <a:rPr lang="en-GB" dirty="0"/>
              <a:t>Matthias Seidel</a:t>
            </a:r>
          </a:p>
          <a:p>
            <a:r>
              <a:rPr lang="en-GB" dirty="0"/>
              <a:t>Max Engelhardt</a:t>
            </a:r>
          </a:p>
          <a:p>
            <a:r>
              <a:rPr lang="en-GB" dirty="0"/>
              <a:t>Alexander Rüde</a:t>
            </a:r>
          </a:p>
          <a:p>
            <a:endParaRPr lang="en-GB" dirty="0"/>
          </a:p>
        </p:txBody>
      </p:sp>
      <p:sp>
        <p:nvSpPr>
          <p:cNvPr id="16" name="Datumsplatzhalter 15">
            <a:extLst>
              <a:ext uri="{FF2B5EF4-FFF2-40B4-BE49-F238E27FC236}">
                <a16:creationId xmlns:a16="http://schemas.microsoft.com/office/drawing/2014/main" id="{C17795AD-7C5C-E27D-7FD9-18A807BC3938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Data Classification: PUBLIC, ESO-605100_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836092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A construction site with cranes and a dome&#10;&#10;Description automatically generated">
            <a:extLst>
              <a:ext uri="{FF2B5EF4-FFF2-40B4-BE49-F238E27FC236}">
                <a16:creationId xmlns:a16="http://schemas.microsoft.com/office/drawing/2014/main" id="{27122B50-4124-104B-0F7E-683E1AAC96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94159FCD-162A-14F4-2206-6FA37010D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ELT Construction Progres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2D5EDFD-2A90-9621-B2EE-23A45C83F945}"/>
              </a:ext>
            </a:extLst>
          </p:cNvPr>
          <p:cNvSpPr txBox="1"/>
          <p:nvPr/>
        </p:nvSpPr>
        <p:spPr>
          <a:xfrm>
            <a:off x="10656002" y="6490049"/>
            <a:ext cx="153599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i="0" dirty="0">
                <a:solidFill>
                  <a:schemeClr val="bg1"/>
                </a:solidFill>
                <a:effectLst/>
                <a:latin typeface="Helvetica Neue LT ESO"/>
              </a:rPr>
              <a:t>Image Credit: ESO</a:t>
            </a:r>
            <a:endParaRPr lang="en-US" sz="1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56163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89A15605-5787-77B9-A063-ADA571CA71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94159FCD-162A-14F4-2206-6FA37010D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ELT Construction Progress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5484DB9-E787-8B42-723B-177BBF910C43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36176" t="13946" r="35944" b="47062"/>
          <a:stretch/>
        </p:blipFill>
        <p:spPr>
          <a:xfrm>
            <a:off x="9648379" y="158012"/>
            <a:ext cx="2419109" cy="1956122"/>
          </a:xfrm>
          <a:prstGeom prst="rect">
            <a:avLst/>
          </a:prstGeom>
          <a:ln w="28575">
            <a:solidFill>
              <a:schemeClr val="accent2"/>
            </a:solidFill>
          </a:ln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74FF04B3-0149-E0FC-0276-38467112429B}"/>
              </a:ext>
            </a:extLst>
          </p:cNvPr>
          <p:cNvCxnSpPr/>
          <p:nvPr/>
        </p:nvCxnSpPr>
        <p:spPr>
          <a:xfrm flipH="1">
            <a:off x="7458075" y="2114134"/>
            <a:ext cx="2190304" cy="1638716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9E44C86B-8D98-144A-F207-D62DBBFBFD77}"/>
              </a:ext>
            </a:extLst>
          </p:cNvPr>
          <p:cNvSpPr txBox="1"/>
          <p:nvPr/>
        </p:nvSpPr>
        <p:spPr>
          <a:xfrm>
            <a:off x="10656002" y="6490049"/>
            <a:ext cx="153599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i="0" dirty="0">
                <a:solidFill>
                  <a:schemeClr val="bg1"/>
                </a:solidFill>
                <a:effectLst/>
                <a:latin typeface="Helvetica Neue LT ESO"/>
              </a:rPr>
              <a:t>Image Credit: ESO</a:t>
            </a:r>
            <a:endParaRPr lang="en-US" sz="1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419352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4159FCD-162A-14F4-2206-6FA37010D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ublication in JATIS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2192BD0-5241-2075-560C-695034247A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3th MicroTCA Workshop for Industry and Research</a:t>
            </a:r>
            <a:endParaRPr lang="de-CH" i="1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66463F8D-BD74-F879-888A-1C977688672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Data Classification: PUBLIC, ESO-605100_1</a:t>
            </a:r>
            <a:endParaRPr lang="en-GB" dirty="0"/>
          </a:p>
        </p:txBody>
      </p: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463AD474-DBE9-9B24-5326-EF48D7DD0EAB}"/>
              </a:ext>
            </a:extLst>
          </p:cNvPr>
          <p:cNvSpPr>
            <a:spLocks noGrp="1"/>
          </p:cNvSpPr>
          <p:nvPr/>
        </p:nvSpPr>
        <p:spPr>
          <a:xfrm>
            <a:off x="3675017" y="1527113"/>
            <a:ext cx="7378473" cy="39053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2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i="1" kern="1200">
                <a:solidFill>
                  <a:schemeClr val="bg2"/>
                </a:solidFill>
                <a:latin typeface="Georgia" panose="02040502050405020303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algn="l"/>
            <a:r>
              <a:rPr lang="en-GB" dirty="0"/>
              <a:t>Published journal article in </a:t>
            </a:r>
            <a:r>
              <a:rPr lang="en-US" b="0" i="1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Journal of Astronomical Telescopes, Instruments, and Systems VOL. 10 · NO. 4 | October 2024</a:t>
            </a:r>
          </a:p>
          <a:p>
            <a:pPr marL="0" lvl="1" indent="0">
              <a:buNone/>
            </a:pPr>
            <a:r>
              <a:rPr lang="en-GB" i="1" dirty="0">
                <a:hlinkClick r:id="rId2"/>
              </a:rPr>
              <a:t>https://doi.org/10.1117/1.JATIS.10.4.046001</a:t>
            </a:r>
            <a:r>
              <a:rPr lang="en-GB" i="1" dirty="0"/>
              <a:t> </a:t>
            </a:r>
          </a:p>
          <a:p>
            <a:pPr marL="0" lvl="1" indent="0">
              <a:buNone/>
            </a:pPr>
            <a:endParaRPr lang="en-GB" dirty="0"/>
          </a:p>
          <a:p>
            <a:pPr marL="0" lvl="1" indent="0">
              <a:buNone/>
            </a:pPr>
            <a:r>
              <a:rPr lang="en-GB" dirty="0"/>
              <a:t>Preprint available at:</a:t>
            </a:r>
          </a:p>
          <a:p>
            <a:pPr marL="0" lvl="1" indent="0">
              <a:buNone/>
            </a:pPr>
            <a:r>
              <a:rPr lang="en-GB" i="1" dirty="0">
                <a:hlinkClick r:id="rId3"/>
              </a:rPr>
              <a:t>https://doi.org/10.48550/arXiv.2410.22965</a:t>
            </a:r>
            <a:r>
              <a:rPr lang="en-GB" i="1" dirty="0"/>
              <a:t> </a:t>
            </a:r>
          </a:p>
          <a:p>
            <a:pPr marL="0" lvl="1" indent="0">
              <a:buNone/>
            </a:pPr>
            <a:endParaRPr lang="en-GB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E3E017E9-8D94-2F07-B64F-7BC641D2B0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6624" y="1527113"/>
            <a:ext cx="2571750" cy="3333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1771213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4159FCD-162A-14F4-2206-6FA37010D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NGCII Detector Controller for ELT 2020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2192BD0-5241-2075-560C-695034247A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3th MicroTCA Workshop for Industry and Research</a:t>
            </a:r>
            <a:endParaRPr lang="de-CH" i="1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66463F8D-BD74-F879-888A-1C977688672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Data Classification: PUBLIC, ESO-605100_1</a:t>
            </a:r>
            <a:endParaRPr lang="en-GB" dirty="0"/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9073FDA3-B774-ED49-B543-175E31D0E319}"/>
              </a:ext>
            </a:extLst>
          </p:cNvPr>
          <p:cNvGrpSpPr/>
          <p:nvPr/>
        </p:nvGrpSpPr>
        <p:grpSpPr>
          <a:xfrm>
            <a:off x="3105091" y="1347356"/>
            <a:ext cx="2222500" cy="1637174"/>
            <a:chOff x="1873251" y="1607186"/>
            <a:chExt cx="2222500" cy="1637174"/>
          </a:xfrm>
        </p:grpSpPr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D618A637-8D0E-4900-3D7E-E6AEEBD25C53}"/>
                </a:ext>
              </a:extLst>
            </p:cNvPr>
            <p:cNvGrpSpPr/>
            <p:nvPr/>
          </p:nvGrpSpPr>
          <p:grpSpPr>
            <a:xfrm>
              <a:off x="1873251" y="1607186"/>
              <a:ext cx="2222500" cy="1392236"/>
              <a:chOff x="2377545" y="1027747"/>
              <a:chExt cx="2952750" cy="1971675"/>
            </a:xfrm>
          </p:grpSpPr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B5D01C32-794B-4457-B5C6-3B213F0BBEAA}"/>
                  </a:ext>
                </a:extLst>
              </p:cNvPr>
              <p:cNvSpPr/>
              <p:nvPr/>
            </p:nvSpPr>
            <p:spPr bwMode="auto">
              <a:xfrm>
                <a:off x="2377545" y="1027747"/>
                <a:ext cx="2952750" cy="1971675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en-US" sz="1000" i="1" dirty="0">
                    <a:latin typeface="Arial" charset="0"/>
                  </a:rPr>
                  <a:t>Extremely Large Telescope</a:t>
                </a:r>
                <a:endParaRPr kumimoji="0" lang="en-US" sz="1000" b="0" i="1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pic>
            <p:nvPicPr>
              <p:cNvPr id="28" name="Picture 27" descr="Artist’s impression of the European Extremely Large Telescope">
                <a:extLst>
                  <a:ext uri="{FF2B5EF4-FFF2-40B4-BE49-F238E27FC236}">
                    <a16:creationId xmlns:a16="http://schemas.microsoft.com/office/drawing/2014/main" id="{3386047C-A857-459A-BBC0-B1B7104ED7C7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7927" b="3415"/>
              <a:stretch/>
            </p:blipFill>
            <p:spPr bwMode="auto">
              <a:xfrm>
                <a:off x="2499419" y="1379220"/>
                <a:ext cx="2713216" cy="154984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29" name="TextBox 3">
              <a:extLst>
                <a:ext uri="{FF2B5EF4-FFF2-40B4-BE49-F238E27FC236}">
                  <a16:creationId xmlns:a16="http://schemas.microsoft.com/office/drawing/2014/main" id="{288BBF94-921E-450F-AC6B-BE6390C25DC2}"/>
                </a:ext>
              </a:extLst>
            </p:cNvPr>
            <p:cNvSpPr txBox="1"/>
            <p:nvPr/>
          </p:nvSpPr>
          <p:spPr>
            <a:xfrm>
              <a:off x="1919242" y="2767306"/>
              <a:ext cx="1143262" cy="4770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700" b="1" dirty="0">
                  <a:solidFill>
                    <a:schemeClr val="bg1"/>
                  </a:solidFill>
                </a:rPr>
                <a:t>Credit: </a:t>
              </a:r>
              <a:r>
                <a:rPr lang="en-US" sz="700" dirty="0">
                  <a:solidFill>
                    <a:schemeClr val="bg1"/>
                  </a:solidFill>
                </a:rPr>
                <a:t>ESO/L. </a:t>
              </a:r>
              <a:r>
                <a:rPr lang="en-US" sz="700" dirty="0" err="1">
                  <a:solidFill>
                    <a:schemeClr val="bg1"/>
                  </a:solidFill>
                </a:rPr>
                <a:t>Calçada</a:t>
              </a:r>
              <a:endParaRPr lang="en-US" sz="700" dirty="0">
                <a:solidFill>
                  <a:schemeClr val="bg1"/>
                </a:solidFill>
              </a:endParaRPr>
            </a:p>
            <a:p>
              <a:endParaRPr lang="en-US" dirty="0"/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76F976B4-3402-1712-6880-3374C225418F}"/>
              </a:ext>
            </a:extLst>
          </p:cNvPr>
          <p:cNvGrpSpPr/>
          <p:nvPr/>
        </p:nvGrpSpPr>
        <p:grpSpPr>
          <a:xfrm>
            <a:off x="8720058" y="1377445"/>
            <a:ext cx="2310142" cy="1590018"/>
            <a:chOff x="2377545" y="3460629"/>
            <a:chExt cx="2987183" cy="2210092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7B2F8995-0582-467B-9C96-82D9D5C55694}"/>
                </a:ext>
              </a:extLst>
            </p:cNvPr>
            <p:cNvSpPr/>
            <p:nvPr/>
          </p:nvSpPr>
          <p:spPr bwMode="auto">
            <a:xfrm>
              <a:off x="2490873" y="3546927"/>
              <a:ext cx="2873855" cy="1975318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F7B6C5A3-C8B2-4259-869F-82079B38C10D}"/>
                </a:ext>
              </a:extLst>
            </p:cNvPr>
            <p:cNvSpPr/>
            <p:nvPr/>
          </p:nvSpPr>
          <p:spPr bwMode="auto">
            <a:xfrm>
              <a:off x="2377545" y="3460629"/>
              <a:ext cx="2873855" cy="1927916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sz="1000" i="1" dirty="0">
                  <a:latin typeface="Arial" charset="0"/>
                </a:rPr>
                <a:t>4x Very Large Telescope</a:t>
              </a:r>
            </a:p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000" b="0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pic>
          <p:nvPicPr>
            <p:cNvPr id="30" name="Picture 29" descr="Bird’s eye view of the Very Large Telescope*">
              <a:extLst>
                <a:ext uri="{FF2B5EF4-FFF2-40B4-BE49-F238E27FC236}">
                  <a16:creationId xmlns:a16="http://schemas.microsoft.com/office/drawing/2014/main" id="{2C2B1940-492E-41BE-949B-E798731115D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857" t="40508" r="15000" b="3693"/>
            <a:stretch/>
          </p:blipFill>
          <p:spPr bwMode="auto">
            <a:xfrm>
              <a:off x="2507786" y="3841549"/>
              <a:ext cx="2704849" cy="140926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1" name="TextBox 5">
              <a:extLst>
                <a:ext uri="{FF2B5EF4-FFF2-40B4-BE49-F238E27FC236}">
                  <a16:creationId xmlns:a16="http://schemas.microsoft.com/office/drawing/2014/main" id="{B38A6242-F426-4A77-8BFB-CEFF1898C45A}"/>
                </a:ext>
              </a:extLst>
            </p:cNvPr>
            <p:cNvSpPr txBox="1"/>
            <p:nvPr/>
          </p:nvSpPr>
          <p:spPr>
            <a:xfrm>
              <a:off x="2470208" y="5007626"/>
              <a:ext cx="2228675" cy="66309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700" b="1" dirty="0" err="1">
                  <a:solidFill>
                    <a:schemeClr val="bg1"/>
                  </a:solidFill>
                </a:rPr>
                <a:t>Credit</a:t>
              </a:r>
              <a:r>
                <a:rPr lang="fr-FR" sz="700" b="1" dirty="0">
                  <a:solidFill>
                    <a:schemeClr val="bg1"/>
                  </a:solidFill>
                </a:rPr>
                <a:t>: </a:t>
              </a:r>
              <a:r>
                <a:rPr lang="fr-FR" sz="700" dirty="0">
                  <a:solidFill>
                    <a:schemeClr val="bg1"/>
                  </a:solidFill>
                </a:rPr>
                <a:t>J.L. Dauvergne &amp; G. </a:t>
              </a:r>
              <a:r>
                <a:rPr lang="fr-FR" sz="700" dirty="0" err="1">
                  <a:solidFill>
                    <a:schemeClr val="bg1"/>
                  </a:solidFill>
                </a:rPr>
                <a:t>Hüdepohl</a:t>
              </a:r>
              <a:endParaRPr lang="fr-FR" sz="700" dirty="0">
                <a:solidFill>
                  <a:schemeClr val="bg1"/>
                </a:solidFill>
              </a:endParaRPr>
            </a:p>
            <a:p>
              <a:endParaRPr lang="en-US" dirty="0"/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B42CB436-93B9-870C-C316-DF240D22A1C3}"/>
              </a:ext>
            </a:extLst>
          </p:cNvPr>
          <p:cNvGrpSpPr/>
          <p:nvPr/>
        </p:nvGrpSpPr>
        <p:grpSpPr>
          <a:xfrm>
            <a:off x="797942" y="3153833"/>
            <a:ext cx="2222499" cy="1392236"/>
            <a:chOff x="3480094" y="1986916"/>
            <a:chExt cx="2222499" cy="1392236"/>
          </a:xfrm>
        </p:grpSpPr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481A4072-3887-4C2B-BB0D-9A5E3658C106}"/>
                </a:ext>
              </a:extLst>
            </p:cNvPr>
            <p:cNvSpPr/>
            <p:nvPr/>
          </p:nvSpPr>
          <p:spPr bwMode="auto">
            <a:xfrm>
              <a:off x="3480094" y="1986916"/>
              <a:ext cx="2222499" cy="1392236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000" b="0" i="1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HARMONI</a:t>
              </a:r>
            </a:p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i="1" dirty="0">
                <a:latin typeface="Arial" charset="0"/>
              </a:endParaRPr>
            </a:p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i="1" dirty="0">
                <a:latin typeface="Arial" charset="0"/>
              </a:endParaRPr>
            </a:p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000" b="0" i="1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    </a:t>
              </a:r>
            </a:p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sz="1000" i="1" dirty="0">
                <a:latin typeface="Arial" charset="0"/>
              </a:endParaRPr>
            </a:p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000" b="0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sz="700" i="1" dirty="0">
                  <a:latin typeface="Arial" charset="0"/>
                </a:rPr>
                <a:t>(e.g. High Red-Shift Galaxies)</a:t>
              </a:r>
              <a:endParaRPr kumimoji="0" lang="en-US" sz="700" b="0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D236E5DF-5D7D-40D0-A8FF-EE5B06F41D7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67160" y="2228692"/>
              <a:ext cx="2093792" cy="90868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2" name="TextBox 6">
              <a:extLst>
                <a:ext uri="{FF2B5EF4-FFF2-40B4-BE49-F238E27FC236}">
                  <a16:creationId xmlns:a16="http://schemas.microsoft.com/office/drawing/2014/main" id="{141B578B-B21B-4FEF-BAEC-1E09EBB2CF05}"/>
                </a:ext>
              </a:extLst>
            </p:cNvPr>
            <p:cNvSpPr txBox="1"/>
            <p:nvPr/>
          </p:nvSpPr>
          <p:spPr>
            <a:xfrm>
              <a:off x="3510313" y="2962839"/>
              <a:ext cx="2007281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it-IT" sz="700" b="1" dirty="0">
                  <a:solidFill>
                    <a:schemeClr val="bg1"/>
                  </a:solidFill>
                </a:rPr>
                <a:t>Credit: </a:t>
              </a:r>
              <a:r>
                <a:rPr lang="it-IT" sz="700" dirty="0">
                  <a:solidFill>
                    <a:schemeClr val="bg1"/>
                  </a:solidFill>
                </a:rPr>
                <a:t>ESO/L. </a:t>
              </a:r>
              <a:r>
                <a:rPr lang="it-IT" sz="700" dirty="0" err="1">
                  <a:solidFill>
                    <a:schemeClr val="bg1"/>
                  </a:solidFill>
                </a:rPr>
                <a:t>Calçada</a:t>
              </a:r>
              <a:r>
                <a:rPr lang="it-IT" sz="700" dirty="0">
                  <a:solidFill>
                    <a:schemeClr val="bg1"/>
                  </a:solidFill>
                </a:rPr>
                <a:t> &amp; Olga Cucciati et al.</a:t>
              </a: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083A51EB-2345-3ACB-D9F1-E3B68FBE92A8}"/>
              </a:ext>
            </a:extLst>
          </p:cNvPr>
          <p:cNvGrpSpPr/>
          <p:nvPr/>
        </p:nvGrpSpPr>
        <p:grpSpPr>
          <a:xfrm>
            <a:off x="3109923" y="3153833"/>
            <a:ext cx="2222499" cy="1392236"/>
            <a:chOff x="3610397" y="2750012"/>
            <a:chExt cx="2222499" cy="1392236"/>
          </a:xfrm>
        </p:grpSpPr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954FEFDF-2192-7A32-BB33-36A28E6BEAF0}"/>
                </a:ext>
              </a:extLst>
            </p:cNvPr>
            <p:cNvSpPr/>
            <p:nvPr/>
          </p:nvSpPr>
          <p:spPr bwMode="auto">
            <a:xfrm>
              <a:off x="3610397" y="2750012"/>
              <a:ext cx="2222499" cy="1392236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000" b="0" i="1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METIS</a:t>
              </a:r>
            </a:p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i="1" dirty="0">
                <a:latin typeface="Arial" charset="0"/>
              </a:endParaRPr>
            </a:p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i="1" dirty="0">
                <a:latin typeface="Arial" charset="0"/>
              </a:endParaRPr>
            </a:p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000" b="0" i="1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    </a:t>
              </a:r>
            </a:p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sz="1000" i="1" dirty="0">
                <a:latin typeface="Arial" charset="0"/>
              </a:endParaRPr>
            </a:p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000" b="0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sz="700" i="1" dirty="0">
                  <a:latin typeface="Arial" charset="0"/>
                </a:rPr>
                <a:t>(e.g. High Red-Shift Galaxies)</a:t>
              </a:r>
              <a:endParaRPr kumimoji="0" lang="en-US" sz="700" b="0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pic>
          <p:nvPicPr>
            <p:cNvPr id="50" name="Picture 49" descr="Artist's impression of a young star surrounded by a protoplanetary disc |  ESO">
              <a:extLst>
                <a:ext uri="{FF2B5EF4-FFF2-40B4-BE49-F238E27FC236}">
                  <a16:creationId xmlns:a16="http://schemas.microsoft.com/office/drawing/2014/main" id="{8FB7FDBA-7D55-5464-B49A-1B105C9A6B7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721" t="15133" r="9009" b="30776"/>
            <a:stretch/>
          </p:blipFill>
          <p:spPr bwMode="auto">
            <a:xfrm>
              <a:off x="3691862" y="2962737"/>
              <a:ext cx="2099393" cy="9667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1" name="TextBox 7">
              <a:extLst>
                <a:ext uri="{FF2B5EF4-FFF2-40B4-BE49-F238E27FC236}">
                  <a16:creationId xmlns:a16="http://schemas.microsoft.com/office/drawing/2014/main" id="{C21D731B-E252-6CD4-C575-5131F182E1F3}"/>
                </a:ext>
              </a:extLst>
            </p:cNvPr>
            <p:cNvSpPr txBox="1"/>
            <p:nvPr/>
          </p:nvSpPr>
          <p:spPr>
            <a:xfrm>
              <a:off x="3640616" y="2938794"/>
              <a:ext cx="1783743" cy="2000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700" b="1" dirty="0">
                  <a:solidFill>
                    <a:schemeClr val="bg1"/>
                  </a:solidFill>
                </a:rPr>
                <a:t>Credit:</a:t>
              </a:r>
              <a:r>
                <a:rPr lang="en-US" sz="700" dirty="0">
                  <a:solidFill>
                    <a:schemeClr val="bg1"/>
                  </a:solidFill>
                </a:rPr>
                <a:t>  ESO/L. </a:t>
              </a:r>
              <a:r>
                <a:rPr lang="en-US" sz="700" dirty="0" err="1">
                  <a:solidFill>
                    <a:schemeClr val="bg1"/>
                  </a:solidFill>
                </a:rPr>
                <a:t>Calçada</a:t>
              </a:r>
              <a:endParaRPr lang="en-US" sz="7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5A1F4CC7-3DD8-75F8-55B6-968CFAB11218}"/>
              </a:ext>
            </a:extLst>
          </p:cNvPr>
          <p:cNvGrpSpPr/>
          <p:nvPr/>
        </p:nvGrpSpPr>
        <p:grpSpPr>
          <a:xfrm>
            <a:off x="5402034" y="3153833"/>
            <a:ext cx="2222499" cy="1392236"/>
            <a:chOff x="3630307" y="4076129"/>
            <a:chExt cx="2222499" cy="1392236"/>
          </a:xfrm>
        </p:grpSpPr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83FDF4A8-0838-1374-1941-35ADF04E1334}"/>
                </a:ext>
              </a:extLst>
            </p:cNvPr>
            <p:cNvSpPr/>
            <p:nvPr/>
          </p:nvSpPr>
          <p:spPr bwMode="auto">
            <a:xfrm>
              <a:off x="3630307" y="4076129"/>
              <a:ext cx="2222499" cy="1392236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000" b="0" i="1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MICADO</a:t>
              </a:r>
            </a:p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i="1" dirty="0">
                <a:latin typeface="Arial" charset="0"/>
              </a:endParaRPr>
            </a:p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i="1" dirty="0">
                <a:latin typeface="Arial" charset="0"/>
              </a:endParaRPr>
            </a:p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000" b="0" i="1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    </a:t>
              </a:r>
            </a:p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sz="1000" i="1" dirty="0">
                <a:latin typeface="Arial" charset="0"/>
              </a:endParaRPr>
            </a:p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000" b="0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sz="700" i="1" dirty="0">
                  <a:latin typeface="Arial" charset="0"/>
                </a:rPr>
                <a:t>(e.g. Black Holes)</a:t>
              </a:r>
              <a:endParaRPr kumimoji="0" lang="en-US" sz="700" b="0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pic>
          <p:nvPicPr>
            <p:cNvPr id="58" name="Picture 57" descr="ESO Instrument Finds Closest Black Hole to Earth | ESO">
              <a:extLst>
                <a:ext uri="{FF2B5EF4-FFF2-40B4-BE49-F238E27FC236}">
                  <a16:creationId xmlns:a16="http://schemas.microsoft.com/office/drawing/2014/main" id="{E9741674-D761-A5F4-BBB4-DB0737E65C1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297" t="21495" r="10087"/>
            <a:stretch/>
          </p:blipFill>
          <p:spPr bwMode="auto">
            <a:xfrm>
              <a:off x="3711772" y="4260827"/>
              <a:ext cx="2099394" cy="99536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7" name="TextBox 7">
              <a:extLst>
                <a:ext uri="{FF2B5EF4-FFF2-40B4-BE49-F238E27FC236}">
                  <a16:creationId xmlns:a16="http://schemas.microsoft.com/office/drawing/2014/main" id="{070D6BEC-A660-28FD-C875-6C426E014586}"/>
                </a:ext>
              </a:extLst>
            </p:cNvPr>
            <p:cNvSpPr txBox="1"/>
            <p:nvPr/>
          </p:nvSpPr>
          <p:spPr>
            <a:xfrm>
              <a:off x="3660526" y="4264911"/>
              <a:ext cx="1783743" cy="2000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700" b="1" dirty="0">
                  <a:solidFill>
                    <a:schemeClr val="bg1"/>
                  </a:solidFill>
                </a:rPr>
                <a:t>Credit:</a:t>
              </a:r>
              <a:r>
                <a:rPr lang="en-US" sz="700" dirty="0">
                  <a:solidFill>
                    <a:schemeClr val="bg1"/>
                  </a:solidFill>
                </a:rPr>
                <a:t>  ESO/L. </a:t>
              </a:r>
              <a:r>
                <a:rPr lang="en-US" sz="700" dirty="0" err="1">
                  <a:solidFill>
                    <a:schemeClr val="bg1"/>
                  </a:solidFill>
                </a:rPr>
                <a:t>Calçada</a:t>
              </a:r>
              <a:endParaRPr lang="en-US" sz="700" dirty="0">
                <a:solidFill>
                  <a:schemeClr val="bg1"/>
                </a:solidFill>
              </a:endParaRPr>
            </a:p>
          </p:txBody>
        </p:sp>
      </p:grpSp>
      <p:cxnSp>
        <p:nvCxnSpPr>
          <p:cNvPr id="69" name="Straight Arrow Connector 68">
            <a:extLst>
              <a:ext uri="{FF2B5EF4-FFF2-40B4-BE49-F238E27FC236}">
                <a16:creationId xmlns:a16="http://schemas.microsoft.com/office/drawing/2014/main" id="{42489404-D253-DCA5-6DAA-59442D97E314}"/>
              </a:ext>
            </a:extLst>
          </p:cNvPr>
          <p:cNvCxnSpPr>
            <a:cxnSpLocks/>
            <a:stCxn id="29" idx="3"/>
            <a:endCxn id="38" idx="0"/>
          </p:cNvCxnSpPr>
          <p:nvPr/>
        </p:nvCxnSpPr>
        <p:spPr>
          <a:xfrm flipH="1">
            <a:off x="1909192" y="2746003"/>
            <a:ext cx="2385152" cy="407830"/>
          </a:xfrm>
          <a:prstGeom prst="straightConnector1">
            <a:avLst/>
          </a:prstGeom>
          <a:ln w="1270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Arrow Connector 70">
            <a:extLst>
              <a:ext uri="{FF2B5EF4-FFF2-40B4-BE49-F238E27FC236}">
                <a16:creationId xmlns:a16="http://schemas.microsoft.com/office/drawing/2014/main" id="{9F6ADE63-56E7-8921-1A12-08ECC313999F}"/>
              </a:ext>
            </a:extLst>
          </p:cNvPr>
          <p:cNvCxnSpPr>
            <a:cxnSpLocks/>
            <a:stCxn id="29" idx="3"/>
            <a:endCxn id="46" idx="0"/>
          </p:cNvCxnSpPr>
          <p:nvPr/>
        </p:nvCxnSpPr>
        <p:spPr>
          <a:xfrm flipH="1">
            <a:off x="4221173" y="2746003"/>
            <a:ext cx="73171" cy="407830"/>
          </a:xfrm>
          <a:prstGeom prst="straightConnector1">
            <a:avLst/>
          </a:prstGeom>
          <a:ln w="1270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Arrow Connector 73">
            <a:extLst>
              <a:ext uri="{FF2B5EF4-FFF2-40B4-BE49-F238E27FC236}">
                <a16:creationId xmlns:a16="http://schemas.microsoft.com/office/drawing/2014/main" id="{746863BB-A9CB-99F0-84B0-071FB8B85485}"/>
              </a:ext>
            </a:extLst>
          </p:cNvPr>
          <p:cNvCxnSpPr>
            <a:cxnSpLocks/>
            <a:stCxn id="29" idx="3"/>
            <a:endCxn id="54" idx="0"/>
          </p:cNvCxnSpPr>
          <p:nvPr/>
        </p:nvCxnSpPr>
        <p:spPr>
          <a:xfrm>
            <a:off x="4294344" y="2746003"/>
            <a:ext cx="2218940" cy="407830"/>
          </a:xfrm>
          <a:prstGeom prst="straightConnector1">
            <a:avLst/>
          </a:prstGeom>
          <a:ln w="1270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Rectangle 107">
            <a:extLst>
              <a:ext uri="{FF2B5EF4-FFF2-40B4-BE49-F238E27FC236}">
                <a16:creationId xmlns:a16="http://schemas.microsoft.com/office/drawing/2014/main" id="{55E3D5CF-83F6-4EBA-85C9-8EE5BF23CB31}"/>
              </a:ext>
            </a:extLst>
          </p:cNvPr>
          <p:cNvSpPr/>
          <p:nvPr/>
        </p:nvSpPr>
        <p:spPr bwMode="auto">
          <a:xfrm>
            <a:off x="797941" y="4887227"/>
            <a:ext cx="2222499" cy="62034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8 Detectors</a:t>
            </a: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92C96460-DC45-03DC-7B2B-4590F8AE8E90}"/>
              </a:ext>
            </a:extLst>
          </p:cNvPr>
          <p:cNvSpPr/>
          <p:nvPr/>
        </p:nvSpPr>
        <p:spPr bwMode="auto">
          <a:xfrm>
            <a:off x="3109923" y="4888572"/>
            <a:ext cx="2222499" cy="62034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400" i="1" dirty="0">
                <a:latin typeface="Arial" charset="0"/>
              </a:rPr>
              <a:t>7</a:t>
            </a:r>
            <a:r>
              <a:rPr kumimoji="0" lang="en-US" sz="1400" b="0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Detectors</a:t>
            </a: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DE9C53B8-7166-CD2A-2F49-F381EBEB6677}"/>
              </a:ext>
            </a:extLst>
          </p:cNvPr>
          <p:cNvSpPr/>
          <p:nvPr/>
        </p:nvSpPr>
        <p:spPr bwMode="auto">
          <a:xfrm>
            <a:off x="5417295" y="4888572"/>
            <a:ext cx="2222499" cy="62034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9 Detectors</a:t>
            </a:r>
          </a:p>
        </p:txBody>
      </p:sp>
      <p:cxnSp>
        <p:nvCxnSpPr>
          <p:cNvPr id="112" name="Straight Arrow Connector 111">
            <a:extLst>
              <a:ext uri="{FF2B5EF4-FFF2-40B4-BE49-F238E27FC236}">
                <a16:creationId xmlns:a16="http://schemas.microsoft.com/office/drawing/2014/main" id="{3CB6FCC5-4C8C-E4AF-16F7-A1CCA98369B5}"/>
              </a:ext>
            </a:extLst>
          </p:cNvPr>
          <p:cNvCxnSpPr>
            <a:cxnSpLocks/>
            <a:stCxn id="38" idx="2"/>
            <a:endCxn id="108" idx="0"/>
          </p:cNvCxnSpPr>
          <p:nvPr/>
        </p:nvCxnSpPr>
        <p:spPr>
          <a:xfrm flipH="1">
            <a:off x="1909191" y="4546069"/>
            <a:ext cx="1" cy="341158"/>
          </a:xfrm>
          <a:prstGeom prst="straightConnector1">
            <a:avLst/>
          </a:prstGeom>
          <a:ln w="1270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Straight Arrow Connector 120">
            <a:extLst>
              <a:ext uri="{FF2B5EF4-FFF2-40B4-BE49-F238E27FC236}">
                <a16:creationId xmlns:a16="http://schemas.microsoft.com/office/drawing/2014/main" id="{C59BD8D8-1C4B-659D-F30A-DFF9B451224F}"/>
              </a:ext>
            </a:extLst>
          </p:cNvPr>
          <p:cNvCxnSpPr>
            <a:cxnSpLocks/>
          </p:cNvCxnSpPr>
          <p:nvPr/>
        </p:nvCxnSpPr>
        <p:spPr>
          <a:xfrm flipH="1">
            <a:off x="4241083" y="4555449"/>
            <a:ext cx="1" cy="341158"/>
          </a:xfrm>
          <a:prstGeom prst="straightConnector1">
            <a:avLst/>
          </a:prstGeom>
          <a:ln w="1270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Straight Arrow Connector 121">
            <a:extLst>
              <a:ext uri="{FF2B5EF4-FFF2-40B4-BE49-F238E27FC236}">
                <a16:creationId xmlns:a16="http://schemas.microsoft.com/office/drawing/2014/main" id="{1A91604C-9E34-0F00-4E59-EF237815F46A}"/>
              </a:ext>
            </a:extLst>
          </p:cNvPr>
          <p:cNvCxnSpPr>
            <a:cxnSpLocks/>
          </p:cNvCxnSpPr>
          <p:nvPr/>
        </p:nvCxnSpPr>
        <p:spPr>
          <a:xfrm flipH="1">
            <a:off x="6513283" y="4555449"/>
            <a:ext cx="1" cy="341158"/>
          </a:xfrm>
          <a:prstGeom prst="straightConnector1">
            <a:avLst/>
          </a:prstGeom>
          <a:ln w="1270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6086906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099C5B52-2FCB-AD9C-9EE6-12EC9F76CFAA}"/>
              </a:ext>
            </a:extLst>
          </p:cNvPr>
          <p:cNvCxnSpPr>
            <a:cxnSpLocks/>
            <a:endCxn id="3" idx="0"/>
          </p:cNvCxnSpPr>
          <p:nvPr/>
        </p:nvCxnSpPr>
        <p:spPr>
          <a:xfrm flipH="1">
            <a:off x="9089756" y="2772118"/>
            <a:ext cx="741551" cy="1764393"/>
          </a:xfrm>
          <a:prstGeom prst="straightConnector1">
            <a:avLst/>
          </a:prstGeom>
          <a:ln w="1270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>
            <a:extLst>
              <a:ext uri="{FF2B5EF4-FFF2-40B4-BE49-F238E27FC236}">
                <a16:creationId xmlns:a16="http://schemas.microsoft.com/office/drawing/2014/main" id="{94159FCD-162A-14F4-2206-6FA37010D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NGCII Detector Controller for ELT/VLT/VST 2024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2192BD0-5241-2075-560C-695034247A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3th MicroTCA Workshop for Industry and Research</a:t>
            </a:r>
            <a:endParaRPr lang="de-CH" i="1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66463F8D-BD74-F879-888A-1C977688672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Data Classification: PUBLIC, ESO-605100_1</a:t>
            </a:r>
            <a:endParaRPr lang="en-GB" dirty="0"/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9073FDA3-B774-ED49-B543-175E31D0E319}"/>
              </a:ext>
            </a:extLst>
          </p:cNvPr>
          <p:cNvGrpSpPr/>
          <p:nvPr/>
        </p:nvGrpSpPr>
        <p:grpSpPr>
          <a:xfrm>
            <a:off x="3105091" y="1347356"/>
            <a:ext cx="2222500" cy="1637174"/>
            <a:chOff x="1873251" y="1607186"/>
            <a:chExt cx="2222500" cy="1637174"/>
          </a:xfrm>
        </p:grpSpPr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D618A637-8D0E-4900-3D7E-E6AEEBD25C53}"/>
                </a:ext>
              </a:extLst>
            </p:cNvPr>
            <p:cNvGrpSpPr/>
            <p:nvPr/>
          </p:nvGrpSpPr>
          <p:grpSpPr>
            <a:xfrm>
              <a:off x="1873251" y="1607186"/>
              <a:ext cx="2222500" cy="1392236"/>
              <a:chOff x="2377545" y="1027747"/>
              <a:chExt cx="2952750" cy="1971675"/>
            </a:xfrm>
          </p:grpSpPr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B5D01C32-794B-4457-B5C6-3B213F0BBEAA}"/>
                  </a:ext>
                </a:extLst>
              </p:cNvPr>
              <p:cNvSpPr/>
              <p:nvPr/>
            </p:nvSpPr>
            <p:spPr bwMode="auto">
              <a:xfrm>
                <a:off x="2377545" y="1027747"/>
                <a:ext cx="2952750" cy="1971675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en-US" sz="1000" i="1" dirty="0">
                    <a:latin typeface="Arial" charset="0"/>
                  </a:rPr>
                  <a:t>Extremely Large Telescope</a:t>
                </a:r>
                <a:endParaRPr kumimoji="0" lang="en-US" sz="1000" b="0" i="1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pic>
            <p:nvPicPr>
              <p:cNvPr id="28" name="Picture 27" descr="Artist’s impression of the European Extremely Large Telescope">
                <a:extLst>
                  <a:ext uri="{FF2B5EF4-FFF2-40B4-BE49-F238E27FC236}">
                    <a16:creationId xmlns:a16="http://schemas.microsoft.com/office/drawing/2014/main" id="{3386047C-A857-459A-BBC0-B1B7104ED7C7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7927" b="3415"/>
              <a:stretch/>
            </p:blipFill>
            <p:spPr bwMode="auto">
              <a:xfrm>
                <a:off x="2499419" y="1379220"/>
                <a:ext cx="2713216" cy="154984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29" name="TextBox 3">
              <a:extLst>
                <a:ext uri="{FF2B5EF4-FFF2-40B4-BE49-F238E27FC236}">
                  <a16:creationId xmlns:a16="http://schemas.microsoft.com/office/drawing/2014/main" id="{288BBF94-921E-450F-AC6B-BE6390C25DC2}"/>
                </a:ext>
              </a:extLst>
            </p:cNvPr>
            <p:cNvSpPr txBox="1"/>
            <p:nvPr/>
          </p:nvSpPr>
          <p:spPr>
            <a:xfrm>
              <a:off x="1919242" y="2767306"/>
              <a:ext cx="1143262" cy="4770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700" b="1" dirty="0">
                  <a:solidFill>
                    <a:schemeClr val="bg1"/>
                  </a:solidFill>
                </a:rPr>
                <a:t>Credit: </a:t>
              </a:r>
              <a:r>
                <a:rPr lang="en-US" sz="700" dirty="0">
                  <a:solidFill>
                    <a:schemeClr val="bg1"/>
                  </a:solidFill>
                </a:rPr>
                <a:t>ESO/L. </a:t>
              </a:r>
              <a:r>
                <a:rPr lang="en-US" sz="700" dirty="0" err="1">
                  <a:solidFill>
                    <a:schemeClr val="bg1"/>
                  </a:solidFill>
                </a:rPr>
                <a:t>Calçada</a:t>
              </a:r>
              <a:endParaRPr lang="en-US" sz="700" dirty="0">
                <a:solidFill>
                  <a:schemeClr val="bg1"/>
                </a:solidFill>
              </a:endParaRPr>
            </a:p>
            <a:p>
              <a:endParaRPr lang="en-US" dirty="0"/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76F976B4-3402-1712-6880-3374C225418F}"/>
              </a:ext>
            </a:extLst>
          </p:cNvPr>
          <p:cNvGrpSpPr/>
          <p:nvPr/>
        </p:nvGrpSpPr>
        <p:grpSpPr>
          <a:xfrm>
            <a:off x="8720058" y="1377445"/>
            <a:ext cx="2310142" cy="1483199"/>
            <a:chOff x="2377545" y="3460629"/>
            <a:chExt cx="2987183" cy="2061616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7B2F8995-0582-467B-9C96-82D9D5C55694}"/>
                </a:ext>
              </a:extLst>
            </p:cNvPr>
            <p:cNvSpPr/>
            <p:nvPr/>
          </p:nvSpPr>
          <p:spPr bwMode="auto">
            <a:xfrm>
              <a:off x="2490873" y="3546927"/>
              <a:ext cx="2873855" cy="1975318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F7B6C5A3-C8B2-4259-869F-82079B38C10D}"/>
                </a:ext>
              </a:extLst>
            </p:cNvPr>
            <p:cNvSpPr/>
            <p:nvPr/>
          </p:nvSpPr>
          <p:spPr bwMode="auto">
            <a:xfrm>
              <a:off x="2377545" y="3460629"/>
              <a:ext cx="2873855" cy="1927916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sz="1000" i="1" dirty="0">
                  <a:latin typeface="Arial" charset="0"/>
                </a:rPr>
                <a:t>4x Very Large Telescope</a:t>
              </a:r>
            </a:p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000" b="0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pic>
          <p:nvPicPr>
            <p:cNvPr id="30" name="Picture 29" descr="Bird’s eye view of the Very Large Telescope*">
              <a:extLst>
                <a:ext uri="{FF2B5EF4-FFF2-40B4-BE49-F238E27FC236}">
                  <a16:creationId xmlns:a16="http://schemas.microsoft.com/office/drawing/2014/main" id="{2C2B1940-492E-41BE-949B-E798731115D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857" t="40508" r="15000" b="3693"/>
            <a:stretch/>
          </p:blipFill>
          <p:spPr bwMode="auto">
            <a:xfrm>
              <a:off x="2507786" y="3841549"/>
              <a:ext cx="2704849" cy="140926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1" name="TextBox 5">
              <a:extLst>
                <a:ext uri="{FF2B5EF4-FFF2-40B4-BE49-F238E27FC236}">
                  <a16:creationId xmlns:a16="http://schemas.microsoft.com/office/drawing/2014/main" id="{B38A6242-F426-4A77-8BFB-CEFF1898C45A}"/>
                </a:ext>
              </a:extLst>
            </p:cNvPr>
            <p:cNvSpPr txBox="1"/>
            <p:nvPr/>
          </p:nvSpPr>
          <p:spPr>
            <a:xfrm>
              <a:off x="2470208" y="5007626"/>
              <a:ext cx="2228675" cy="27807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700" b="1" dirty="0" err="1">
                  <a:solidFill>
                    <a:schemeClr val="bg1"/>
                  </a:solidFill>
                </a:rPr>
                <a:t>Credit</a:t>
              </a:r>
              <a:r>
                <a:rPr lang="fr-FR" sz="700" b="1" dirty="0">
                  <a:solidFill>
                    <a:schemeClr val="bg1"/>
                  </a:solidFill>
                </a:rPr>
                <a:t>: </a:t>
              </a:r>
              <a:r>
                <a:rPr lang="fr-FR" sz="700" dirty="0">
                  <a:solidFill>
                    <a:schemeClr val="bg1"/>
                  </a:solidFill>
                </a:rPr>
                <a:t>J.L. Dauvergne &amp; G. </a:t>
              </a:r>
              <a:r>
                <a:rPr lang="fr-FR" sz="700" dirty="0" err="1">
                  <a:solidFill>
                    <a:schemeClr val="bg1"/>
                  </a:solidFill>
                </a:rPr>
                <a:t>Hüdepohl</a:t>
              </a:r>
              <a:endParaRPr lang="fr-FR" sz="7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B42CB436-93B9-870C-C316-DF240D22A1C3}"/>
              </a:ext>
            </a:extLst>
          </p:cNvPr>
          <p:cNvGrpSpPr/>
          <p:nvPr/>
        </p:nvGrpSpPr>
        <p:grpSpPr>
          <a:xfrm>
            <a:off x="797942" y="3153833"/>
            <a:ext cx="2222499" cy="1392236"/>
            <a:chOff x="3480094" y="1986916"/>
            <a:chExt cx="2222499" cy="1392236"/>
          </a:xfrm>
        </p:grpSpPr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481A4072-3887-4C2B-BB0D-9A5E3658C106}"/>
                </a:ext>
              </a:extLst>
            </p:cNvPr>
            <p:cNvSpPr/>
            <p:nvPr/>
          </p:nvSpPr>
          <p:spPr bwMode="auto">
            <a:xfrm>
              <a:off x="3480094" y="1986916"/>
              <a:ext cx="2222499" cy="1392236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000" b="0" i="1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HARMONI</a:t>
              </a:r>
            </a:p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i="1" dirty="0">
                <a:latin typeface="Arial" charset="0"/>
              </a:endParaRPr>
            </a:p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i="1" dirty="0">
                <a:latin typeface="Arial" charset="0"/>
              </a:endParaRPr>
            </a:p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000" b="0" i="1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    </a:t>
              </a:r>
            </a:p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sz="1000" i="1" dirty="0">
                <a:latin typeface="Arial" charset="0"/>
              </a:endParaRPr>
            </a:p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000" b="0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sz="700" i="1" dirty="0">
                  <a:latin typeface="Arial" charset="0"/>
                </a:rPr>
                <a:t>(e.g. High Red-Shift Galaxies)</a:t>
              </a:r>
              <a:endParaRPr kumimoji="0" lang="en-US" sz="700" b="0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D236E5DF-5D7D-40D0-A8FF-EE5B06F41D7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67160" y="2228692"/>
              <a:ext cx="2093792" cy="90868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2" name="TextBox 6">
              <a:extLst>
                <a:ext uri="{FF2B5EF4-FFF2-40B4-BE49-F238E27FC236}">
                  <a16:creationId xmlns:a16="http://schemas.microsoft.com/office/drawing/2014/main" id="{141B578B-B21B-4FEF-BAEC-1E09EBB2CF05}"/>
                </a:ext>
              </a:extLst>
            </p:cNvPr>
            <p:cNvSpPr txBox="1"/>
            <p:nvPr/>
          </p:nvSpPr>
          <p:spPr>
            <a:xfrm>
              <a:off x="3510313" y="2962839"/>
              <a:ext cx="2007281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it-IT" sz="700" b="1" dirty="0">
                  <a:solidFill>
                    <a:schemeClr val="bg1"/>
                  </a:solidFill>
                </a:rPr>
                <a:t>Credit: </a:t>
              </a:r>
              <a:r>
                <a:rPr lang="it-IT" sz="700" dirty="0">
                  <a:solidFill>
                    <a:schemeClr val="bg1"/>
                  </a:solidFill>
                </a:rPr>
                <a:t>ESO/L. </a:t>
              </a:r>
              <a:r>
                <a:rPr lang="it-IT" sz="700" dirty="0" err="1">
                  <a:solidFill>
                    <a:schemeClr val="bg1"/>
                  </a:solidFill>
                </a:rPr>
                <a:t>Calçada</a:t>
              </a:r>
              <a:r>
                <a:rPr lang="it-IT" sz="700" dirty="0">
                  <a:solidFill>
                    <a:schemeClr val="bg1"/>
                  </a:solidFill>
                </a:rPr>
                <a:t> &amp; Olga Cucciati et al.</a:t>
              </a: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083A51EB-2345-3ACB-D9F1-E3B68FBE92A8}"/>
              </a:ext>
            </a:extLst>
          </p:cNvPr>
          <p:cNvGrpSpPr/>
          <p:nvPr/>
        </p:nvGrpSpPr>
        <p:grpSpPr>
          <a:xfrm>
            <a:off x="3109923" y="3153833"/>
            <a:ext cx="2222499" cy="1392236"/>
            <a:chOff x="3610397" y="2750012"/>
            <a:chExt cx="2222499" cy="1392236"/>
          </a:xfrm>
        </p:grpSpPr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954FEFDF-2192-7A32-BB33-36A28E6BEAF0}"/>
                </a:ext>
              </a:extLst>
            </p:cNvPr>
            <p:cNvSpPr/>
            <p:nvPr/>
          </p:nvSpPr>
          <p:spPr bwMode="auto">
            <a:xfrm>
              <a:off x="3610397" y="2750012"/>
              <a:ext cx="2222499" cy="1392236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000" b="0" i="1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METIS</a:t>
              </a:r>
            </a:p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i="1" dirty="0">
                <a:latin typeface="Arial" charset="0"/>
              </a:endParaRPr>
            </a:p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i="1" dirty="0">
                <a:latin typeface="Arial" charset="0"/>
              </a:endParaRPr>
            </a:p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000" b="0" i="1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    </a:t>
              </a:r>
            </a:p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sz="1000" i="1" dirty="0">
                <a:latin typeface="Arial" charset="0"/>
              </a:endParaRPr>
            </a:p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000" b="0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sz="700" i="1" dirty="0">
                  <a:latin typeface="Arial" charset="0"/>
                </a:rPr>
                <a:t>(e.g. High Red-Shift Galaxies)</a:t>
              </a:r>
              <a:endParaRPr kumimoji="0" lang="en-US" sz="700" b="0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pic>
          <p:nvPicPr>
            <p:cNvPr id="50" name="Picture 49" descr="Artist's impression of a young star surrounded by a protoplanetary disc |  ESO">
              <a:extLst>
                <a:ext uri="{FF2B5EF4-FFF2-40B4-BE49-F238E27FC236}">
                  <a16:creationId xmlns:a16="http://schemas.microsoft.com/office/drawing/2014/main" id="{8FB7FDBA-7D55-5464-B49A-1B105C9A6B7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721" t="15133" r="9009" b="30776"/>
            <a:stretch/>
          </p:blipFill>
          <p:spPr bwMode="auto">
            <a:xfrm>
              <a:off x="3691862" y="2962737"/>
              <a:ext cx="2099393" cy="9667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1" name="TextBox 7">
              <a:extLst>
                <a:ext uri="{FF2B5EF4-FFF2-40B4-BE49-F238E27FC236}">
                  <a16:creationId xmlns:a16="http://schemas.microsoft.com/office/drawing/2014/main" id="{C21D731B-E252-6CD4-C575-5131F182E1F3}"/>
                </a:ext>
              </a:extLst>
            </p:cNvPr>
            <p:cNvSpPr txBox="1"/>
            <p:nvPr/>
          </p:nvSpPr>
          <p:spPr>
            <a:xfrm>
              <a:off x="3640616" y="2938794"/>
              <a:ext cx="1783743" cy="2000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700" b="1" dirty="0">
                  <a:solidFill>
                    <a:schemeClr val="bg1"/>
                  </a:solidFill>
                </a:rPr>
                <a:t>Credit:</a:t>
              </a:r>
              <a:r>
                <a:rPr lang="en-US" sz="700" dirty="0">
                  <a:solidFill>
                    <a:schemeClr val="bg1"/>
                  </a:solidFill>
                </a:rPr>
                <a:t>  ESO/L. </a:t>
              </a:r>
              <a:r>
                <a:rPr lang="en-US" sz="700" dirty="0" err="1">
                  <a:solidFill>
                    <a:schemeClr val="bg1"/>
                  </a:solidFill>
                </a:rPr>
                <a:t>Calçada</a:t>
              </a:r>
              <a:endParaRPr lang="en-US" sz="7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5A1F4CC7-3DD8-75F8-55B6-968CFAB11218}"/>
              </a:ext>
            </a:extLst>
          </p:cNvPr>
          <p:cNvGrpSpPr/>
          <p:nvPr/>
        </p:nvGrpSpPr>
        <p:grpSpPr>
          <a:xfrm>
            <a:off x="5402034" y="3153833"/>
            <a:ext cx="2222499" cy="1392236"/>
            <a:chOff x="3630307" y="4076129"/>
            <a:chExt cx="2222499" cy="1392236"/>
          </a:xfrm>
        </p:grpSpPr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83FDF4A8-0838-1374-1941-35ADF04E1334}"/>
                </a:ext>
              </a:extLst>
            </p:cNvPr>
            <p:cNvSpPr/>
            <p:nvPr/>
          </p:nvSpPr>
          <p:spPr bwMode="auto">
            <a:xfrm>
              <a:off x="3630307" y="4076129"/>
              <a:ext cx="2222499" cy="1392236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000" b="0" i="1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MICADO</a:t>
              </a:r>
            </a:p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i="1" dirty="0">
                <a:latin typeface="Arial" charset="0"/>
              </a:endParaRPr>
            </a:p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i="1" dirty="0">
                <a:latin typeface="Arial" charset="0"/>
              </a:endParaRPr>
            </a:p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000" b="0" i="1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    </a:t>
              </a:r>
            </a:p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sz="1000" i="1" dirty="0">
                <a:latin typeface="Arial" charset="0"/>
              </a:endParaRPr>
            </a:p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000" b="0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sz="700" i="1" dirty="0">
                  <a:latin typeface="Arial" charset="0"/>
                </a:rPr>
                <a:t>(e.g. Black Holes)</a:t>
              </a:r>
              <a:endParaRPr kumimoji="0" lang="en-US" sz="700" b="0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pic>
          <p:nvPicPr>
            <p:cNvPr id="58" name="Picture 57" descr="ESO Instrument Finds Closest Black Hole to Earth | ESO">
              <a:extLst>
                <a:ext uri="{FF2B5EF4-FFF2-40B4-BE49-F238E27FC236}">
                  <a16:creationId xmlns:a16="http://schemas.microsoft.com/office/drawing/2014/main" id="{E9741674-D761-A5F4-BBB4-DB0737E65C1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297" t="21495" r="10087"/>
            <a:stretch/>
          </p:blipFill>
          <p:spPr bwMode="auto">
            <a:xfrm>
              <a:off x="3711772" y="4260827"/>
              <a:ext cx="2099394" cy="99536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7" name="TextBox 7">
              <a:extLst>
                <a:ext uri="{FF2B5EF4-FFF2-40B4-BE49-F238E27FC236}">
                  <a16:creationId xmlns:a16="http://schemas.microsoft.com/office/drawing/2014/main" id="{070D6BEC-A660-28FD-C875-6C426E014586}"/>
                </a:ext>
              </a:extLst>
            </p:cNvPr>
            <p:cNvSpPr txBox="1"/>
            <p:nvPr/>
          </p:nvSpPr>
          <p:spPr>
            <a:xfrm>
              <a:off x="3660526" y="4264911"/>
              <a:ext cx="1783743" cy="2000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700" b="1" dirty="0">
                  <a:solidFill>
                    <a:schemeClr val="bg1"/>
                  </a:solidFill>
                </a:rPr>
                <a:t>Credit:</a:t>
              </a:r>
              <a:r>
                <a:rPr lang="en-US" sz="700" dirty="0">
                  <a:solidFill>
                    <a:schemeClr val="bg1"/>
                  </a:solidFill>
                </a:rPr>
                <a:t>  ESO/L. </a:t>
              </a:r>
              <a:r>
                <a:rPr lang="en-US" sz="700" dirty="0" err="1">
                  <a:solidFill>
                    <a:schemeClr val="bg1"/>
                  </a:solidFill>
                </a:rPr>
                <a:t>Calçada</a:t>
              </a:r>
              <a:endParaRPr lang="en-US" sz="700" dirty="0">
                <a:solidFill>
                  <a:schemeClr val="bg1"/>
                </a:solidFill>
              </a:endParaRPr>
            </a:p>
          </p:txBody>
        </p:sp>
      </p:grpSp>
      <p:cxnSp>
        <p:nvCxnSpPr>
          <p:cNvPr id="69" name="Straight Arrow Connector 68">
            <a:extLst>
              <a:ext uri="{FF2B5EF4-FFF2-40B4-BE49-F238E27FC236}">
                <a16:creationId xmlns:a16="http://schemas.microsoft.com/office/drawing/2014/main" id="{42489404-D253-DCA5-6DAA-59442D97E314}"/>
              </a:ext>
            </a:extLst>
          </p:cNvPr>
          <p:cNvCxnSpPr>
            <a:cxnSpLocks/>
            <a:stCxn id="29" idx="3"/>
            <a:endCxn id="38" idx="0"/>
          </p:cNvCxnSpPr>
          <p:nvPr/>
        </p:nvCxnSpPr>
        <p:spPr>
          <a:xfrm flipH="1">
            <a:off x="1909192" y="2746003"/>
            <a:ext cx="2385152" cy="407830"/>
          </a:xfrm>
          <a:prstGeom prst="straightConnector1">
            <a:avLst/>
          </a:prstGeom>
          <a:ln w="1270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Arrow Connector 70">
            <a:extLst>
              <a:ext uri="{FF2B5EF4-FFF2-40B4-BE49-F238E27FC236}">
                <a16:creationId xmlns:a16="http://schemas.microsoft.com/office/drawing/2014/main" id="{9F6ADE63-56E7-8921-1A12-08ECC313999F}"/>
              </a:ext>
            </a:extLst>
          </p:cNvPr>
          <p:cNvCxnSpPr>
            <a:cxnSpLocks/>
            <a:stCxn id="29" idx="3"/>
            <a:endCxn id="46" idx="0"/>
          </p:cNvCxnSpPr>
          <p:nvPr/>
        </p:nvCxnSpPr>
        <p:spPr>
          <a:xfrm flipH="1">
            <a:off x="4221173" y="2746003"/>
            <a:ext cx="73171" cy="407830"/>
          </a:xfrm>
          <a:prstGeom prst="straightConnector1">
            <a:avLst/>
          </a:prstGeom>
          <a:ln w="1270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Arrow Connector 73">
            <a:extLst>
              <a:ext uri="{FF2B5EF4-FFF2-40B4-BE49-F238E27FC236}">
                <a16:creationId xmlns:a16="http://schemas.microsoft.com/office/drawing/2014/main" id="{746863BB-A9CB-99F0-84B0-071FB8B85485}"/>
              </a:ext>
            </a:extLst>
          </p:cNvPr>
          <p:cNvCxnSpPr>
            <a:cxnSpLocks/>
            <a:stCxn id="29" idx="3"/>
            <a:endCxn id="54" idx="0"/>
          </p:cNvCxnSpPr>
          <p:nvPr/>
        </p:nvCxnSpPr>
        <p:spPr>
          <a:xfrm>
            <a:off x="4294344" y="2746003"/>
            <a:ext cx="2218940" cy="407830"/>
          </a:xfrm>
          <a:prstGeom prst="straightConnector1">
            <a:avLst/>
          </a:prstGeom>
          <a:ln w="1270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Rectangle 77">
            <a:extLst>
              <a:ext uri="{FF2B5EF4-FFF2-40B4-BE49-F238E27FC236}">
                <a16:creationId xmlns:a16="http://schemas.microsoft.com/office/drawing/2014/main" id="{A1B70174-00CB-2009-F32E-BD143E2C193E}"/>
              </a:ext>
            </a:extLst>
          </p:cNvPr>
          <p:cNvSpPr/>
          <p:nvPr/>
        </p:nvSpPr>
        <p:spPr bwMode="auto">
          <a:xfrm>
            <a:off x="5877360" y="1347356"/>
            <a:ext cx="2222499" cy="620343"/>
          </a:xfrm>
          <a:prstGeom prst="rect">
            <a:avLst/>
          </a:prstGeom>
          <a:solidFill>
            <a:schemeClr val="accent3"/>
          </a:solidFill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Phasing and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400" i="1" dirty="0">
                <a:latin typeface="Arial" charset="0"/>
              </a:rPr>
              <a:t>Diagnostics Station</a:t>
            </a:r>
            <a:endParaRPr kumimoji="0" lang="en-US" sz="1400" b="0" i="1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E6452FB4-3C6D-0110-C054-4C5EE9FCD026}"/>
              </a:ext>
            </a:extLst>
          </p:cNvPr>
          <p:cNvSpPr/>
          <p:nvPr/>
        </p:nvSpPr>
        <p:spPr bwMode="auto">
          <a:xfrm>
            <a:off x="5877361" y="2107769"/>
            <a:ext cx="2222499" cy="620343"/>
          </a:xfrm>
          <a:prstGeom prst="rect">
            <a:avLst/>
          </a:prstGeom>
          <a:solidFill>
            <a:schemeClr val="accent3"/>
          </a:solidFill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MOSAIC</a:t>
            </a:r>
          </a:p>
        </p:txBody>
      </p:sp>
      <p:cxnSp>
        <p:nvCxnSpPr>
          <p:cNvPr id="80" name="Straight Arrow Connector 79">
            <a:extLst>
              <a:ext uri="{FF2B5EF4-FFF2-40B4-BE49-F238E27FC236}">
                <a16:creationId xmlns:a16="http://schemas.microsoft.com/office/drawing/2014/main" id="{BCA289DD-9F99-86C8-0A99-00ACCDE883D0}"/>
              </a:ext>
            </a:extLst>
          </p:cNvPr>
          <p:cNvCxnSpPr>
            <a:cxnSpLocks/>
            <a:stCxn id="18" idx="3"/>
            <a:endCxn id="78" idx="1"/>
          </p:cNvCxnSpPr>
          <p:nvPr/>
        </p:nvCxnSpPr>
        <p:spPr>
          <a:xfrm flipV="1">
            <a:off x="5327591" y="1657528"/>
            <a:ext cx="549769" cy="385946"/>
          </a:xfrm>
          <a:prstGeom prst="straightConnector1">
            <a:avLst/>
          </a:prstGeom>
          <a:ln w="1270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Arrow Connector 82">
            <a:extLst>
              <a:ext uri="{FF2B5EF4-FFF2-40B4-BE49-F238E27FC236}">
                <a16:creationId xmlns:a16="http://schemas.microsoft.com/office/drawing/2014/main" id="{D0F15F77-881D-0A2D-74F2-ADAA0D1F4AD1}"/>
              </a:ext>
            </a:extLst>
          </p:cNvPr>
          <p:cNvCxnSpPr>
            <a:cxnSpLocks/>
            <a:stCxn id="18" idx="3"/>
            <a:endCxn id="79" idx="1"/>
          </p:cNvCxnSpPr>
          <p:nvPr/>
        </p:nvCxnSpPr>
        <p:spPr>
          <a:xfrm>
            <a:off x="5327591" y="2043474"/>
            <a:ext cx="549770" cy="374467"/>
          </a:xfrm>
          <a:prstGeom prst="straightConnector1">
            <a:avLst/>
          </a:prstGeom>
          <a:ln w="1270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Arrow Connector 89">
            <a:extLst>
              <a:ext uri="{FF2B5EF4-FFF2-40B4-BE49-F238E27FC236}">
                <a16:creationId xmlns:a16="http://schemas.microsoft.com/office/drawing/2014/main" id="{0056BA56-766F-A118-587C-3610B321C876}"/>
              </a:ext>
            </a:extLst>
          </p:cNvPr>
          <p:cNvCxnSpPr>
            <a:cxnSpLocks/>
            <a:stCxn id="25" idx="2"/>
            <a:endCxn id="86" idx="0"/>
          </p:cNvCxnSpPr>
          <p:nvPr/>
        </p:nvCxnSpPr>
        <p:spPr>
          <a:xfrm flipH="1">
            <a:off x="9089757" y="2764456"/>
            <a:ext cx="741551" cy="287060"/>
          </a:xfrm>
          <a:prstGeom prst="straightConnector1">
            <a:avLst/>
          </a:prstGeom>
          <a:ln w="1270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Arrow Connector 91">
            <a:extLst>
              <a:ext uri="{FF2B5EF4-FFF2-40B4-BE49-F238E27FC236}">
                <a16:creationId xmlns:a16="http://schemas.microsoft.com/office/drawing/2014/main" id="{9E280606-B1EE-337B-CAF4-D5A6FC4EB261}"/>
              </a:ext>
            </a:extLst>
          </p:cNvPr>
          <p:cNvCxnSpPr>
            <a:cxnSpLocks/>
            <a:stCxn id="18" idx="1"/>
            <a:endCxn id="87" idx="3"/>
          </p:cNvCxnSpPr>
          <p:nvPr/>
        </p:nvCxnSpPr>
        <p:spPr>
          <a:xfrm flipH="1">
            <a:off x="2520107" y="2043474"/>
            <a:ext cx="584984" cy="0"/>
          </a:xfrm>
          <a:prstGeom prst="straightConnector1">
            <a:avLst/>
          </a:prstGeom>
          <a:ln w="1270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Straight Arrow Connector 94">
            <a:extLst>
              <a:ext uri="{FF2B5EF4-FFF2-40B4-BE49-F238E27FC236}">
                <a16:creationId xmlns:a16="http://schemas.microsoft.com/office/drawing/2014/main" id="{89E7BC72-DAFA-4BEA-6D57-D0F4E4386718}"/>
              </a:ext>
            </a:extLst>
          </p:cNvPr>
          <p:cNvCxnSpPr>
            <a:cxnSpLocks/>
            <a:stCxn id="25" idx="2"/>
            <a:endCxn id="88" idx="0"/>
          </p:cNvCxnSpPr>
          <p:nvPr/>
        </p:nvCxnSpPr>
        <p:spPr>
          <a:xfrm>
            <a:off x="9831308" y="2764456"/>
            <a:ext cx="780815" cy="1021837"/>
          </a:xfrm>
          <a:prstGeom prst="straightConnector1">
            <a:avLst/>
          </a:prstGeom>
          <a:ln w="1270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Arrow Connector 98">
            <a:extLst>
              <a:ext uri="{FF2B5EF4-FFF2-40B4-BE49-F238E27FC236}">
                <a16:creationId xmlns:a16="http://schemas.microsoft.com/office/drawing/2014/main" id="{E3013DCA-2544-5DCB-FCD5-D9470B07A74F}"/>
              </a:ext>
            </a:extLst>
          </p:cNvPr>
          <p:cNvCxnSpPr>
            <a:cxnSpLocks/>
            <a:stCxn id="9" idx="1"/>
            <a:endCxn id="89" idx="3"/>
          </p:cNvCxnSpPr>
          <p:nvPr/>
        </p:nvCxnSpPr>
        <p:spPr>
          <a:xfrm flipH="1" flipV="1">
            <a:off x="7633726" y="6010160"/>
            <a:ext cx="311354" cy="4152"/>
          </a:xfrm>
          <a:prstGeom prst="straightConnector1">
            <a:avLst/>
          </a:prstGeom>
          <a:ln w="1270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Rectangle 85">
            <a:extLst>
              <a:ext uri="{FF2B5EF4-FFF2-40B4-BE49-F238E27FC236}">
                <a16:creationId xmlns:a16="http://schemas.microsoft.com/office/drawing/2014/main" id="{32F63201-46F5-0B09-993D-A7A912E97536}"/>
              </a:ext>
            </a:extLst>
          </p:cNvPr>
          <p:cNvSpPr/>
          <p:nvPr/>
        </p:nvSpPr>
        <p:spPr bwMode="auto">
          <a:xfrm>
            <a:off x="7978507" y="3051516"/>
            <a:ext cx="2222499" cy="620343"/>
          </a:xfrm>
          <a:prstGeom prst="rect">
            <a:avLst/>
          </a:prstGeom>
          <a:solidFill>
            <a:schemeClr val="accent3"/>
          </a:solidFill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MAVIS</a:t>
            </a: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42A19244-8133-EDAA-8081-0156CFCE842A}"/>
              </a:ext>
            </a:extLst>
          </p:cNvPr>
          <p:cNvSpPr/>
          <p:nvPr/>
        </p:nvSpPr>
        <p:spPr bwMode="auto">
          <a:xfrm>
            <a:off x="297608" y="1733302"/>
            <a:ext cx="2222499" cy="620343"/>
          </a:xfrm>
          <a:prstGeom prst="rect">
            <a:avLst/>
          </a:prstGeom>
          <a:solidFill>
            <a:schemeClr val="accent3"/>
          </a:solidFill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ANDES</a:t>
            </a: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86E519CE-62F4-35F3-9328-E955D8A39AB4}"/>
              </a:ext>
            </a:extLst>
          </p:cNvPr>
          <p:cNvSpPr/>
          <p:nvPr/>
        </p:nvSpPr>
        <p:spPr bwMode="auto">
          <a:xfrm>
            <a:off x="9500873" y="3786293"/>
            <a:ext cx="2222499" cy="620343"/>
          </a:xfrm>
          <a:prstGeom prst="rect">
            <a:avLst/>
          </a:prstGeom>
          <a:solidFill>
            <a:schemeClr val="accent3"/>
          </a:solidFill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Blue MUSE</a:t>
            </a: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4DEE5645-6FB4-448D-1AB3-EA07295B6AE7}"/>
              </a:ext>
            </a:extLst>
          </p:cNvPr>
          <p:cNvSpPr/>
          <p:nvPr/>
        </p:nvSpPr>
        <p:spPr bwMode="auto">
          <a:xfrm>
            <a:off x="5411227" y="5699988"/>
            <a:ext cx="2222499" cy="620343"/>
          </a:xfrm>
          <a:prstGeom prst="rect">
            <a:avLst/>
          </a:prstGeom>
          <a:solidFill>
            <a:schemeClr val="accent3"/>
          </a:solidFill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ORS-Up</a:t>
            </a: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55E3D5CF-83F6-4EBA-85C9-8EE5BF23CB31}"/>
              </a:ext>
            </a:extLst>
          </p:cNvPr>
          <p:cNvSpPr/>
          <p:nvPr/>
        </p:nvSpPr>
        <p:spPr bwMode="auto">
          <a:xfrm>
            <a:off x="797941" y="4887227"/>
            <a:ext cx="2222499" cy="62034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8 Detectors</a:t>
            </a: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92C96460-DC45-03DC-7B2B-4590F8AE8E90}"/>
              </a:ext>
            </a:extLst>
          </p:cNvPr>
          <p:cNvSpPr/>
          <p:nvPr/>
        </p:nvSpPr>
        <p:spPr bwMode="auto">
          <a:xfrm>
            <a:off x="3109923" y="4888572"/>
            <a:ext cx="2222499" cy="62034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400" i="1" dirty="0">
                <a:latin typeface="Arial" charset="0"/>
              </a:rPr>
              <a:t>7</a:t>
            </a:r>
            <a:r>
              <a:rPr kumimoji="0" lang="en-US" sz="1400" b="0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Detectors</a:t>
            </a: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DE9C53B8-7166-CD2A-2F49-F381EBEB6677}"/>
              </a:ext>
            </a:extLst>
          </p:cNvPr>
          <p:cNvSpPr/>
          <p:nvPr/>
        </p:nvSpPr>
        <p:spPr bwMode="auto">
          <a:xfrm>
            <a:off x="5417295" y="4888572"/>
            <a:ext cx="2222499" cy="62034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9 Detectors</a:t>
            </a:r>
          </a:p>
        </p:txBody>
      </p:sp>
      <p:cxnSp>
        <p:nvCxnSpPr>
          <p:cNvPr id="112" name="Straight Arrow Connector 111">
            <a:extLst>
              <a:ext uri="{FF2B5EF4-FFF2-40B4-BE49-F238E27FC236}">
                <a16:creationId xmlns:a16="http://schemas.microsoft.com/office/drawing/2014/main" id="{3CB6FCC5-4C8C-E4AF-16F7-A1CCA98369B5}"/>
              </a:ext>
            </a:extLst>
          </p:cNvPr>
          <p:cNvCxnSpPr>
            <a:cxnSpLocks/>
            <a:stCxn id="38" idx="2"/>
            <a:endCxn id="108" idx="0"/>
          </p:cNvCxnSpPr>
          <p:nvPr/>
        </p:nvCxnSpPr>
        <p:spPr>
          <a:xfrm flipH="1">
            <a:off x="1909191" y="4546069"/>
            <a:ext cx="1" cy="341158"/>
          </a:xfrm>
          <a:prstGeom prst="straightConnector1">
            <a:avLst/>
          </a:prstGeom>
          <a:ln w="1270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Straight Arrow Connector 120">
            <a:extLst>
              <a:ext uri="{FF2B5EF4-FFF2-40B4-BE49-F238E27FC236}">
                <a16:creationId xmlns:a16="http://schemas.microsoft.com/office/drawing/2014/main" id="{C59BD8D8-1C4B-659D-F30A-DFF9B451224F}"/>
              </a:ext>
            </a:extLst>
          </p:cNvPr>
          <p:cNvCxnSpPr>
            <a:cxnSpLocks/>
          </p:cNvCxnSpPr>
          <p:nvPr/>
        </p:nvCxnSpPr>
        <p:spPr>
          <a:xfrm flipH="1">
            <a:off x="4241083" y="4555449"/>
            <a:ext cx="1" cy="341158"/>
          </a:xfrm>
          <a:prstGeom prst="straightConnector1">
            <a:avLst/>
          </a:prstGeom>
          <a:ln w="1270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Straight Arrow Connector 121">
            <a:extLst>
              <a:ext uri="{FF2B5EF4-FFF2-40B4-BE49-F238E27FC236}">
                <a16:creationId xmlns:a16="http://schemas.microsoft.com/office/drawing/2014/main" id="{1A91604C-9E34-0F00-4E59-EF237815F46A}"/>
              </a:ext>
            </a:extLst>
          </p:cNvPr>
          <p:cNvCxnSpPr>
            <a:cxnSpLocks/>
          </p:cNvCxnSpPr>
          <p:nvPr/>
        </p:nvCxnSpPr>
        <p:spPr>
          <a:xfrm flipH="1">
            <a:off x="6513283" y="4555449"/>
            <a:ext cx="1" cy="341158"/>
          </a:xfrm>
          <a:prstGeom prst="straightConnector1">
            <a:avLst/>
          </a:prstGeom>
          <a:ln w="1270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CAF32C4-392B-0B6E-FC64-8B8FAFFE6169}"/>
              </a:ext>
            </a:extLst>
          </p:cNvPr>
          <p:cNvGrpSpPr/>
          <p:nvPr/>
        </p:nvGrpSpPr>
        <p:grpSpPr>
          <a:xfrm>
            <a:off x="7945080" y="5320806"/>
            <a:ext cx="2222500" cy="1387011"/>
            <a:chOff x="7875228" y="4521071"/>
            <a:chExt cx="2222500" cy="1387011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27573239-8094-5926-D9FA-EC57ECA0AF90}"/>
                </a:ext>
              </a:extLst>
            </p:cNvPr>
            <p:cNvSpPr/>
            <p:nvPr/>
          </p:nvSpPr>
          <p:spPr bwMode="auto">
            <a:xfrm>
              <a:off x="7875228" y="4521071"/>
              <a:ext cx="2222500" cy="1387011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sz="1000" i="1" dirty="0">
                  <a:latin typeface="Arial" charset="0"/>
                </a:rPr>
                <a:t>VLT Survey Telescope</a:t>
              </a:r>
            </a:p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000" b="0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pic>
          <p:nvPicPr>
            <p:cNvPr id="4098" name="Picture 2" descr="ESO's VLT Survey Telescope">
              <a:extLst>
                <a:ext uri="{FF2B5EF4-FFF2-40B4-BE49-F238E27FC236}">
                  <a16:creationId xmlns:a16="http://schemas.microsoft.com/office/drawing/2014/main" id="{5141CF52-0842-0135-A0DD-56C504ACFC8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3698" b="3319"/>
            <a:stretch/>
          </p:blipFill>
          <p:spPr bwMode="auto">
            <a:xfrm>
              <a:off x="7990878" y="4734141"/>
              <a:ext cx="2021719" cy="11193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" name="TextBox 5">
              <a:extLst>
                <a:ext uri="{FF2B5EF4-FFF2-40B4-BE49-F238E27FC236}">
                  <a16:creationId xmlns:a16="http://schemas.microsoft.com/office/drawing/2014/main" id="{BE60AE51-04C4-73BC-6511-60A124DF1AA6}"/>
                </a:ext>
              </a:extLst>
            </p:cNvPr>
            <p:cNvSpPr txBox="1"/>
            <p:nvPr/>
          </p:nvSpPr>
          <p:spPr>
            <a:xfrm>
              <a:off x="7945925" y="5668740"/>
              <a:ext cx="1168910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700" b="1" dirty="0" err="1">
                  <a:solidFill>
                    <a:schemeClr val="bg1"/>
                  </a:solidFill>
                </a:rPr>
                <a:t>Credit</a:t>
              </a:r>
              <a:r>
                <a:rPr lang="fr-FR" sz="700" b="1" dirty="0">
                  <a:solidFill>
                    <a:schemeClr val="bg1"/>
                  </a:solidFill>
                </a:rPr>
                <a:t>: </a:t>
              </a:r>
              <a:r>
                <a:rPr lang="fr-FR" sz="700" dirty="0">
                  <a:solidFill>
                    <a:schemeClr val="bg1"/>
                  </a:solidFill>
                </a:rPr>
                <a:t>ESO/</a:t>
              </a:r>
              <a:r>
                <a:rPr lang="fr-FR" sz="700" dirty="0" err="1">
                  <a:solidFill>
                    <a:schemeClr val="bg1"/>
                  </a:solidFill>
                </a:rPr>
                <a:t>Y.Beletsky</a:t>
              </a:r>
              <a:endParaRPr lang="fr-FR" sz="700" dirty="0">
                <a:solidFill>
                  <a:schemeClr val="bg1"/>
                </a:solidFill>
              </a:endParaRP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AF196F6F-65E2-F249-1FAC-10C091BD2BBE}"/>
              </a:ext>
            </a:extLst>
          </p:cNvPr>
          <p:cNvSpPr/>
          <p:nvPr/>
        </p:nvSpPr>
        <p:spPr bwMode="auto">
          <a:xfrm>
            <a:off x="7978506" y="4536511"/>
            <a:ext cx="2222499" cy="620343"/>
          </a:xfrm>
          <a:prstGeom prst="rect">
            <a:avLst/>
          </a:prstGeom>
          <a:solidFill>
            <a:schemeClr val="accent3"/>
          </a:solidFill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CUBES</a:t>
            </a:r>
          </a:p>
        </p:txBody>
      </p:sp>
    </p:spTree>
    <p:extLst>
      <p:ext uri="{BB962C8B-B14F-4D97-AF65-F5344CB8AC3E}">
        <p14:creationId xmlns:p14="http://schemas.microsoft.com/office/powerpoint/2010/main" val="232447816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val 13">
            <a:extLst>
              <a:ext uri="{FF2B5EF4-FFF2-40B4-BE49-F238E27FC236}">
                <a16:creationId xmlns:a16="http://schemas.microsoft.com/office/drawing/2014/main" id="{9409F443-A2D2-9BB7-C87A-DA29BAC3D762}"/>
              </a:ext>
            </a:extLst>
          </p:cNvPr>
          <p:cNvSpPr/>
          <p:nvPr/>
        </p:nvSpPr>
        <p:spPr>
          <a:xfrm>
            <a:off x="5273304" y="2293379"/>
            <a:ext cx="2808000" cy="2808000"/>
          </a:xfrm>
          <a:prstGeom prst="ellipse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27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58812689-A397-FC3D-684B-67AA46EC17AD}"/>
              </a:ext>
            </a:extLst>
          </p:cNvPr>
          <p:cNvSpPr/>
          <p:nvPr/>
        </p:nvSpPr>
        <p:spPr>
          <a:xfrm>
            <a:off x="889373" y="1955199"/>
            <a:ext cx="3420000" cy="3420000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1"/>
          <a:lstStyle/>
          <a:p>
            <a:pPr algn="ctr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4159FCD-162A-14F4-2206-6FA37010D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etectors 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2192BD0-5241-2075-560C-695034247A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3th MicroTCA Workshop for Industry and Research</a:t>
            </a:r>
            <a:endParaRPr lang="de-CH" i="1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66463F8D-BD74-F879-888A-1C977688672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Data Classification: PUBLIC, ESO-605100_1</a:t>
            </a:r>
            <a:endParaRPr lang="en-GB" dirty="0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0F75A131-9512-EB2B-8762-97B61B277F31}"/>
              </a:ext>
            </a:extLst>
          </p:cNvPr>
          <p:cNvSpPr/>
          <p:nvPr/>
        </p:nvSpPr>
        <p:spPr>
          <a:xfrm>
            <a:off x="1226947" y="2630464"/>
            <a:ext cx="2736000" cy="2736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26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5D1EEC25-881A-CD4E-EF03-A33EBAB343C3}"/>
              </a:ext>
            </a:extLst>
          </p:cNvPr>
          <p:cNvSpPr/>
          <p:nvPr/>
        </p:nvSpPr>
        <p:spPr>
          <a:xfrm>
            <a:off x="6209304" y="4165379"/>
            <a:ext cx="936000" cy="936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104382E8-4F76-E3E1-6CFD-3DA5DC973FC7}"/>
              </a:ext>
            </a:extLst>
          </p:cNvPr>
          <p:cNvSpPr/>
          <p:nvPr/>
        </p:nvSpPr>
        <p:spPr>
          <a:xfrm>
            <a:off x="9497138" y="3429000"/>
            <a:ext cx="540000" cy="540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C54EC29-9F8E-9B0E-BF1F-7D7C7A98F643}"/>
              </a:ext>
            </a:extLst>
          </p:cNvPr>
          <p:cNvSpPr txBox="1"/>
          <p:nvPr/>
        </p:nvSpPr>
        <p:spPr>
          <a:xfrm>
            <a:off x="2156365" y="1526248"/>
            <a:ext cx="8771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MO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34644B1-B3CD-9CFD-D7FB-95BDBE71EF40}"/>
              </a:ext>
            </a:extLst>
          </p:cNvPr>
          <p:cNvSpPr txBox="1"/>
          <p:nvPr/>
        </p:nvSpPr>
        <p:spPr>
          <a:xfrm>
            <a:off x="6333195" y="1526248"/>
            <a:ext cx="68480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CD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91D2E16-08AA-69A7-0A91-7CA3DCA123C0}"/>
              </a:ext>
            </a:extLst>
          </p:cNvPr>
          <p:cNvSpPr txBox="1"/>
          <p:nvPr/>
        </p:nvSpPr>
        <p:spPr>
          <a:xfrm>
            <a:off x="9104136" y="1529528"/>
            <a:ext cx="13260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GEOSNAP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0A3FB6B-1422-5030-D2A3-C93BD611A8DF}"/>
              </a:ext>
            </a:extLst>
          </p:cNvPr>
          <p:cNvSpPr txBox="1"/>
          <p:nvPr/>
        </p:nvSpPr>
        <p:spPr>
          <a:xfrm>
            <a:off x="3605525" y="5681132"/>
            <a:ext cx="54553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 dirty="0"/>
              <a:t>Circle area proportional to total number of detector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339E856-4FAF-187E-9C15-91CD16D41ACC}"/>
              </a:ext>
            </a:extLst>
          </p:cNvPr>
          <p:cNvSpPr txBox="1"/>
          <p:nvPr/>
        </p:nvSpPr>
        <p:spPr>
          <a:xfrm>
            <a:off x="2374373" y="2108713"/>
            <a:ext cx="44114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40</a:t>
            </a: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28735015-4384-0998-CE55-1A20AAC0D57A}"/>
              </a:ext>
            </a:extLst>
          </p:cNvPr>
          <p:cNvCxnSpPr>
            <a:cxnSpLocks/>
            <a:endCxn id="12" idx="7"/>
          </p:cNvCxnSpPr>
          <p:nvPr/>
        </p:nvCxnSpPr>
        <p:spPr>
          <a:xfrm flipH="1">
            <a:off x="3808526" y="2139020"/>
            <a:ext cx="300226" cy="31702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50C06E96-A362-0F28-5C3B-BE36A55F3D50}"/>
              </a:ext>
            </a:extLst>
          </p:cNvPr>
          <p:cNvSpPr txBox="1"/>
          <p:nvPr/>
        </p:nvSpPr>
        <p:spPr>
          <a:xfrm>
            <a:off x="4075976" y="2015909"/>
            <a:ext cx="46679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accent1"/>
                </a:solidFill>
              </a:rPr>
              <a:t>2024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5C3B9216-9CEF-4368-0823-CF3FFBB653AF}"/>
              </a:ext>
            </a:extLst>
          </p:cNvPr>
          <p:cNvSpPr txBox="1"/>
          <p:nvPr/>
        </p:nvSpPr>
        <p:spPr>
          <a:xfrm>
            <a:off x="2361549" y="5619577"/>
            <a:ext cx="46679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accent1"/>
                </a:solidFill>
              </a:rPr>
              <a:t>2020</a:t>
            </a:r>
          </a:p>
        </p:txBody>
      </p: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B7E0E204-E7F3-F0F3-05BB-579E22C5EAB4}"/>
              </a:ext>
            </a:extLst>
          </p:cNvPr>
          <p:cNvCxnSpPr>
            <a:cxnSpLocks/>
          </p:cNvCxnSpPr>
          <p:nvPr/>
        </p:nvCxnSpPr>
        <p:spPr>
          <a:xfrm flipV="1">
            <a:off x="6717772" y="5099405"/>
            <a:ext cx="0" cy="27579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73247A62-3D79-1CD4-775E-7D968EF800D7}"/>
              </a:ext>
            </a:extLst>
          </p:cNvPr>
          <p:cNvSpPr txBox="1"/>
          <p:nvPr/>
        </p:nvSpPr>
        <p:spPr>
          <a:xfrm>
            <a:off x="6501037" y="5366125"/>
            <a:ext cx="46679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accent1"/>
                </a:solidFill>
              </a:rPr>
              <a:t>2020</a:t>
            </a:r>
          </a:p>
        </p:txBody>
      </p: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A5C20A81-6435-4B4C-CE92-E17A4A0BD164}"/>
              </a:ext>
            </a:extLst>
          </p:cNvPr>
          <p:cNvCxnSpPr>
            <a:cxnSpLocks/>
          </p:cNvCxnSpPr>
          <p:nvPr/>
        </p:nvCxnSpPr>
        <p:spPr>
          <a:xfrm flipH="1">
            <a:off x="7579224" y="2319532"/>
            <a:ext cx="300226" cy="31702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>
            <a:extLst>
              <a:ext uri="{FF2B5EF4-FFF2-40B4-BE49-F238E27FC236}">
                <a16:creationId xmlns:a16="http://schemas.microsoft.com/office/drawing/2014/main" id="{4BE2C548-45F4-61D9-D867-206DA16DDA2F}"/>
              </a:ext>
            </a:extLst>
          </p:cNvPr>
          <p:cNvSpPr txBox="1"/>
          <p:nvPr/>
        </p:nvSpPr>
        <p:spPr>
          <a:xfrm>
            <a:off x="7862147" y="2183345"/>
            <a:ext cx="46679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accent1"/>
                </a:solidFill>
              </a:rPr>
              <a:t>2024</a:t>
            </a:r>
          </a:p>
        </p:txBody>
      </p: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D8E8C480-CF07-4C29-8A50-AD2D76D32089}"/>
              </a:ext>
            </a:extLst>
          </p:cNvPr>
          <p:cNvCxnSpPr>
            <a:cxnSpLocks/>
          </p:cNvCxnSpPr>
          <p:nvPr/>
        </p:nvCxnSpPr>
        <p:spPr>
          <a:xfrm flipH="1">
            <a:off x="9941780" y="3195832"/>
            <a:ext cx="300226" cy="31702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2E74A72E-C7B4-FB8E-7B0E-FED3791CA088}"/>
              </a:ext>
            </a:extLst>
          </p:cNvPr>
          <p:cNvSpPr txBox="1"/>
          <p:nvPr/>
        </p:nvSpPr>
        <p:spPr>
          <a:xfrm>
            <a:off x="10196743" y="3072721"/>
            <a:ext cx="8531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accent1"/>
                </a:solidFill>
              </a:rPr>
              <a:t>2020 | 2024</a:t>
            </a:r>
          </a:p>
        </p:txBody>
      </p: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EF7E627C-AD99-58A5-FEAD-88C22BC4F19E}"/>
              </a:ext>
            </a:extLst>
          </p:cNvPr>
          <p:cNvCxnSpPr>
            <a:cxnSpLocks/>
          </p:cNvCxnSpPr>
          <p:nvPr/>
        </p:nvCxnSpPr>
        <p:spPr>
          <a:xfrm flipV="1">
            <a:off x="2587732" y="5366125"/>
            <a:ext cx="0" cy="27579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7201072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4159FCD-162A-14F4-2206-6FA37010D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CD + GEOSNAP Development Updat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C83E420-0CB6-12C9-626D-667E87BD3AB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36624" y="1577975"/>
            <a:ext cx="4924914" cy="4343400"/>
          </a:xfrm>
        </p:spPr>
        <p:txBody>
          <a:bodyPr/>
          <a:lstStyle/>
          <a:p>
            <a:r>
              <a:rPr lang="en-GB" b="1" dirty="0"/>
              <a:t>CCD System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All modules ready as prototyp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Integration test with CCD detector ongo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2192BD0-5241-2075-560C-695034247A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3th MicroTCA Workshop for Industry and Research</a:t>
            </a:r>
            <a:endParaRPr lang="de-CH" i="1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34DB9CC-A76F-04D2-AF28-A1CCAF1A51C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b="1" dirty="0"/>
              <a:t>GEOSNAP Syste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Fully digital detector @ 1.6Gbp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Currently developing firmwa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Integration testing Q1, 2025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66463F8D-BD74-F879-888A-1C977688672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Data Classification: PUBLIC, ESO-605100_1</a:t>
            </a:r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4BFBFBF-2E23-E416-FFB9-621A8036B18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9515" y="3566796"/>
            <a:ext cx="3513848" cy="2633526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AE61BC86-B6A9-6C70-F607-ECCFC6B37326}"/>
              </a:ext>
            </a:extLst>
          </p:cNvPr>
          <p:cNvSpPr/>
          <p:nvPr/>
        </p:nvSpPr>
        <p:spPr>
          <a:xfrm rot="20401829">
            <a:off x="8992914" y="5477608"/>
            <a:ext cx="2322209" cy="736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Eye diagram with connector and cable @1.6Gbps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E288DA13-41D1-5033-B1B8-E7579FD634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6592" y="3067156"/>
            <a:ext cx="4285903" cy="31597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9610977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4159FCD-162A-14F4-2206-6FA37010D0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MOS System Finalized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2192BD0-5241-2075-560C-695034247A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3th MicroTCA Workshop for Industry and Research</a:t>
            </a:r>
            <a:endParaRPr lang="de-CH" i="1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66463F8D-BD74-F879-888A-1C977688672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Data Classification: PUBLIC, ESO-605100_1</a:t>
            </a:r>
            <a:endParaRPr lang="en-GB" dirty="0"/>
          </a:p>
        </p:txBody>
      </p:sp>
      <p:pic>
        <p:nvPicPr>
          <p:cNvPr id="11" name="Picture 10" descr="A white speckled image on a yellow background&#10;&#10;Description automatically generated with medium confidence">
            <a:extLst>
              <a:ext uri="{FF2B5EF4-FFF2-40B4-BE49-F238E27FC236}">
                <a16:creationId xmlns:a16="http://schemas.microsoft.com/office/drawing/2014/main" id="{92493190-52B4-846B-E1D0-F0286C904B1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20527" y="1465890"/>
            <a:ext cx="4526948" cy="4526948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8E6A56DA-C102-0E78-EDA5-8F5CADE9C734}"/>
              </a:ext>
            </a:extLst>
          </p:cNvPr>
          <p:cNvSpPr txBox="1"/>
          <p:nvPr/>
        </p:nvSpPr>
        <p:spPr>
          <a:xfrm>
            <a:off x="8391127" y="5069508"/>
            <a:ext cx="2146806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HAWAII-2RG</a:t>
            </a:r>
          </a:p>
          <a:p>
            <a:r>
              <a:rPr lang="en-US" dirty="0"/>
              <a:t>Engineering Grade</a:t>
            </a:r>
          </a:p>
          <a:p>
            <a:r>
              <a:rPr lang="en-US" dirty="0"/>
              <a:t>Detector</a:t>
            </a:r>
          </a:p>
        </p:txBody>
      </p:sp>
    </p:spTree>
    <p:extLst>
      <p:ext uri="{BB962C8B-B14F-4D97-AF65-F5344CB8AC3E}">
        <p14:creationId xmlns:p14="http://schemas.microsoft.com/office/powerpoint/2010/main" val="29555777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rgbClr val="000000"/>
      </a:dk1>
      <a:lt1>
        <a:sysClr val="window" lastClr="FFFFFF"/>
      </a:lt1>
      <a:dk2>
        <a:srgbClr val="0077BE"/>
      </a:dk2>
      <a:lt2>
        <a:srgbClr val="FFA300"/>
      </a:lt2>
      <a:accent1>
        <a:srgbClr val="094168"/>
      </a:accent1>
      <a:accent2>
        <a:srgbClr val="00AAE3"/>
      </a:accent2>
      <a:accent3>
        <a:srgbClr val="C9E7FB"/>
      </a:accent3>
      <a:accent4>
        <a:srgbClr val="825C00"/>
      </a:accent4>
      <a:accent5>
        <a:srgbClr val="AE7800"/>
      </a:accent5>
      <a:accent6>
        <a:srgbClr val="FDDE54"/>
      </a:accent6>
      <a:hlink>
        <a:srgbClr val="000000"/>
      </a:hlink>
      <a:folHlink>
        <a:srgbClr val="000000"/>
      </a:folHlink>
    </a:clrScheme>
    <a:fontScheme name="ES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ESO_official_ppt_template_2023.potx  -  Read-Only" id="{CD68B5D3-9B19-4E3F-80CE-0D285B4DD9DE}" vid="{7AB60256-EA41-4C27-827C-5229C80E8398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ESO-232192_2 ESO Template - Powerpoint Presentation</Template>
  <TotalTime>0</TotalTime>
  <Words>803</Words>
  <Application>Microsoft Office PowerPoint</Application>
  <PresentationFormat>Widescreen</PresentationFormat>
  <Paragraphs>208</Paragraphs>
  <Slides>1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2" baseType="lpstr">
      <vt:lpstr>Arial</vt:lpstr>
      <vt:lpstr>Calibri</vt:lpstr>
      <vt:lpstr>Georgia</vt:lpstr>
      <vt:lpstr>Helvetica Neue LT ESO</vt:lpstr>
      <vt:lpstr>Office</vt:lpstr>
      <vt:lpstr>think-cell Folie</vt:lpstr>
      <vt:lpstr>The Path to Series Production of the MicroTCA.4 Based Scientific Detector Controller (NGCII) for the Extremely Large Telescope</vt:lpstr>
      <vt:lpstr>ELT Construction Progress</vt:lpstr>
      <vt:lpstr>ELT Construction Progress</vt:lpstr>
      <vt:lpstr>Publication in JATIS</vt:lpstr>
      <vt:lpstr>NGCII Detector Controller for ELT 2020</vt:lpstr>
      <vt:lpstr>NGCII Detector Controller for ELT/VLT/VST 2024</vt:lpstr>
      <vt:lpstr>Detectors </vt:lpstr>
      <vt:lpstr>CCD + GEOSNAP Development Update</vt:lpstr>
      <vt:lpstr>CMOS System Finalized</vt:lpstr>
      <vt:lpstr>CMOS System Finalized</vt:lpstr>
      <vt:lpstr>CMOS System Finalized</vt:lpstr>
      <vt:lpstr>CMOS System Production</vt:lpstr>
      <vt:lpstr>Design Quality Measures in Workflow </vt:lpstr>
      <vt:lpstr>Firmware and Software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your presentation</dc:title>
  <dc:creator>Katia Montironi</dc:creator>
  <cp:lastModifiedBy>Mathias Richerzhagen</cp:lastModifiedBy>
  <cp:revision>1</cp:revision>
  <dcterms:created xsi:type="dcterms:W3CDTF">2023-05-26T06:45:20Z</dcterms:created>
  <dcterms:modified xsi:type="dcterms:W3CDTF">2024-12-06T08:17:25Z</dcterms:modified>
</cp:coreProperties>
</file>